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72" r:id="rId2"/>
    <p:sldId id="274" r:id="rId3"/>
    <p:sldId id="275" r:id="rId4"/>
    <p:sldId id="277" r:id="rId5"/>
    <p:sldId id="278" r:id="rId6"/>
    <p:sldId id="279" r:id="rId7"/>
    <p:sldId id="280" r:id="rId8"/>
    <p:sldId id="281" r:id="rId9"/>
    <p:sldId id="282" r:id="rId10"/>
    <p:sldId id="283" r:id="rId11"/>
    <p:sldId id="284" r:id="rId12"/>
    <p:sldId id="285" r:id="rId13"/>
    <p:sldId id="286" r:id="rId14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D0DE295-C46A-4570-9894-AA7C1C42AE99}">
          <p14:sldIdLst>
            <p14:sldId id="272"/>
            <p14:sldId id="274"/>
            <p14:sldId id="275"/>
            <p14:sldId id="277"/>
            <p14:sldId id="278"/>
            <p14:sldId id="279"/>
            <p14:sldId id="280"/>
            <p14:sldId id="281"/>
            <p14:sldId id="282"/>
            <p14:sldId id="283"/>
            <p14:sldId id="284"/>
            <p14:sldId id="285"/>
            <p14:sldId id="28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084B"/>
    <a:srgbClr val="CF395D"/>
    <a:srgbClr val="FFC000"/>
    <a:srgbClr val="FFCC00"/>
    <a:srgbClr val="F7F7F7"/>
    <a:srgbClr val="D7D7D7"/>
    <a:srgbClr val="ED7D31"/>
    <a:srgbClr val="39F2F7"/>
    <a:srgbClr val="000000"/>
    <a:srgbClr val="FF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85" d="100"/>
          <a:sy n="85" d="100"/>
        </p:scale>
        <p:origin x="590" y="4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8CE41F-0970-402C-85D4-A9102EB3AB4B}" type="datetimeFigureOut">
              <a:rPr lang="en-US" smtClean="0"/>
              <a:t>1/11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96B5F-D8C8-45B1-8D08-EFFBC24D1D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24268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4F96BE-AB6D-48CC-820B-E3A8A4384E81}" type="datetimeFigureOut">
              <a:rPr lang="en-US" smtClean="0"/>
              <a:t>1/1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CCF2B-0377-4B4D-B01A-0151044523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32749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4F96BE-AB6D-48CC-820B-E3A8A4384E81}" type="datetimeFigureOut">
              <a:rPr lang="en-US" smtClean="0"/>
              <a:t>1/1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CCF2B-0377-4B4D-B01A-0151044523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84177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4F96BE-AB6D-48CC-820B-E3A8A4384E81}" type="datetimeFigureOut">
              <a:rPr lang="en-US" smtClean="0"/>
              <a:t>1/1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CCF2B-0377-4B4D-B01A-0151044523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4423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4F96BE-AB6D-48CC-820B-E3A8A4384E81}" type="datetimeFigureOut">
              <a:rPr lang="en-US" smtClean="0"/>
              <a:t>1/1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CCF2B-0377-4B4D-B01A-0151044523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8715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4F96BE-AB6D-48CC-820B-E3A8A4384E81}" type="datetimeFigureOut">
              <a:rPr lang="en-US" smtClean="0"/>
              <a:t>1/1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CCF2B-0377-4B4D-B01A-0151044523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70410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4F96BE-AB6D-48CC-820B-E3A8A4384E81}" type="datetimeFigureOut">
              <a:rPr lang="en-US" smtClean="0"/>
              <a:t>1/1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CCF2B-0377-4B4D-B01A-0151044523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35562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4F96BE-AB6D-48CC-820B-E3A8A4384E81}" type="datetimeFigureOut">
              <a:rPr lang="en-US" smtClean="0"/>
              <a:t>1/11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CCF2B-0377-4B4D-B01A-0151044523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1808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81484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4F96BE-AB6D-48CC-820B-E3A8A4384E81}" type="datetimeFigureOut">
              <a:rPr lang="en-US" smtClean="0"/>
              <a:t>1/11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CCF2B-0377-4B4D-B01A-0151044523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8914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18706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4F96BE-AB6D-48CC-820B-E3A8A4384E81}" type="datetimeFigureOut">
              <a:rPr lang="en-US" smtClean="0"/>
              <a:t>1/11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CCF2B-0377-4B4D-B01A-0151044523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87667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4F96BE-AB6D-48CC-820B-E3A8A4384E81}" type="datetimeFigureOut">
              <a:rPr lang="en-US" smtClean="0"/>
              <a:t>1/1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CCF2B-0377-4B4D-B01A-0151044523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3580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4F96BE-AB6D-48CC-820B-E3A8A4384E81}" type="datetimeFigureOut">
              <a:rPr lang="en-US" smtClean="0"/>
              <a:t>1/1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CCF2B-0377-4B4D-B01A-0151044523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36621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211144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2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4F96BE-AB6D-48CC-820B-E3A8A4384E81}" type="datetimeFigureOut">
              <a:rPr lang="en-US" smtClean="0"/>
              <a:t>1/1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ECCF2B-0377-4B4D-B01A-0151044523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3074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5.jpeg"/><Relationship Id="rId4" Type="http://schemas.openxmlformats.org/officeDocument/2006/relationships/image" Target="../media/image13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6.xml"/><Relationship Id="rId5" Type="http://schemas.microsoft.com/office/2007/relationships/hdphoto" Target="../media/hdphoto1.wdp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7" Type="http://schemas.openxmlformats.org/officeDocument/2006/relationships/image" Target="../media/image25.jp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jpg"/><Relationship Id="rId5" Type="http://schemas.openxmlformats.org/officeDocument/2006/relationships/image" Target="../media/image23.jpg"/><Relationship Id="rId4" Type="http://schemas.openxmlformats.org/officeDocument/2006/relationships/image" Target="../media/image22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7.png"/><Relationship Id="rId12" Type="http://schemas.openxmlformats.org/officeDocument/2006/relationships/image" Target="../media/image10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jpeg"/><Relationship Id="rId11" Type="http://schemas.openxmlformats.org/officeDocument/2006/relationships/image" Target="../media/image9.png"/><Relationship Id="rId5" Type="http://schemas.openxmlformats.org/officeDocument/2006/relationships/image" Target="../media/image2.emf"/><Relationship Id="rId10" Type="http://schemas.openxmlformats.org/officeDocument/2006/relationships/image" Target="../media/image8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4.png"/><Relationship Id="rId7" Type="http://schemas.openxmlformats.org/officeDocument/2006/relationships/image" Target="../media/image10.png"/><Relationship Id="rId12" Type="http://schemas.openxmlformats.org/officeDocument/2006/relationships/image" Target="../media/image13.jp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png"/><Relationship Id="rId11" Type="http://schemas.openxmlformats.org/officeDocument/2006/relationships/image" Target="../media/image7.png"/><Relationship Id="rId5" Type="http://schemas.openxmlformats.org/officeDocument/2006/relationships/image" Target="../media/image8.png"/><Relationship Id="rId10" Type="http://schemas.openxmlformats.org/officeDocument/2006/relationships/hyperlink" Target="https://www.surveygizmo.eu/s3/90040491/MES-Whitepaper-Challenge-2017" TargetMode="External"/><Relationship Id="rId4" Type="http://schemas.openxmlformats.org/officeDocument/2006/relationships/image" Target="../media/image5.jpeg"/><Relationship Id="rId9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4.png"/><Relationship Id="rId7" Type="http://schemas.openxmlformats.org/officeDocument/2006/relationships/image" Target="../media/image10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png"/><Relationship Id="rId11" Type="http://schemas.openxmlformats.org/officeDocument/2006/relationships/image" Target="../media/image13.jpg"/><Relationship Id="rId5" Type="http://schemas.openxmlformats.org/officeDocument/2006/relationships/image" Target="../media/image8.png"/><Relationship Id="rId10" Type="http://schemas.openxmlformats.org/officeDocument/2006/relationships/image" Target="../media/image7.png"/><Relationship Id="rId4" Type="http://schemas.openxmlformats.org/officeDocument/2006/relationships/image" Target="../media/image5.jpeg"/><Relationship Id="rId9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3.jp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06504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Rectangle 65"/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 anchorCtr="0"/>
          <a:lstStyle/>
          <a:p>
            <a:pPr>
              <a:spcAft>
                <a:spcPts val="600"/>
              </a:spcAft>
            </a:pPr>
            <a:endParaRPr lang="en-US" sz="1600" kern="0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581985" y="2400928"/>
            <a:ext cx="6858945" cy="4007707"/>
            <a:chOff x="1800538" y="656435"/>
            <a:chExt cx="8756025" cy="4007707"/>
          </a:xfrm>
        </p:grpSpPr>
        <p:grpSp>
          <p:nvGrpSpPr>
            <p:cNvPr id="5" name="Group 4"/>
            <p:cNvGrpSpPr/>
            <p:nvPr/>
          </p:nvGrpSpPr>
          <p:grpSpPr>
            <a:xfrm>
              <a:off x="1800539" y="1194111"/>
              <a:ext cx="8756024" cy="3470031"/>
              <a:chOff x="2032947" y="1693983"/>
              <a:chExt cx="8756024" cy="3470031"/>
            </a:xfrm>
          </p:grpSpPr>
          <p:sp>
            <p:nvSpPr>
              <p:cNvPr id="6" name="L-Shape 5"/>
              <p:cNvSpPr/>
              <p:nvPr/>
            </p:nvSpPr>
            <p:spPr>
              <a:xfrm rot="5400000">
                <a:off x="2437557" y="2953232"/>
                <a:ext cx="1218747" cy="2027967"/>
              </a:xfrm>
              <a:prstGeom prst="corner">
                <a:avLst>
                  <a:gd name="adj1" fmla="val 16120"/>
                  <a:gd name="adj2" fmla="val 16110"/>
                </a:avLst>
              </a:prstGeom>
            </p:spPr>
            <p:style>
              <a:lnRef idx="2">
                <a:schemeClr val="accent2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2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2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/>
              </a:p>
            </p:txBody>
          </p:sp>
          <p:sp>
            <p:nvSpPr>
              <p:cNvPr id="7" name="Freeform 6"/>
              <p:cNvSpPr/>
              <p:nvPr/>
            </p:nvSpPr>
            <p:spPr>
              <a:xfrm>
                <a:off x="2234118" y="3559158"/>
                <a:ext cx="1830860" cy="1604856"/>
              </a:xfrm>
              <a:custGeom>
                <a:avLst/>
                <a:gdLst>
                  <a:gd name="connsiteX0" fmla="*/ 0 w 1830860"/>
                  <a:gd name="connsiteY0" fmla="*/ 0 h 1604856"/>
                  <a:gd name="connsiteX1" fmla="*/ 1830860 w 1830860"/>
                  <a:gd name="connsiteY1" fmla="*/ 0 h 1604856"/>
                  <a:gd name="connsiteX2" fmla="*/ 1830860 w 1830860"/>
                  <a:gd name="connsiteY2" fmla="*/ 1604856 h 1604856"/>
                  <a:gd name="connsiteX3" fmla="*/ 0 w 1830860"/>
                  <a:gd name="connsiteY3" fmla="*/ 1604856 h 1604856"/>
                  <a:gd name="connsiteX4" fmla="*/ 0 w 1830860"/>
                  <a:gd name="connsiteY4" fmla="*/ 0 h 1604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30860" h="1604856">
                    <a:moveTo>
                      <a:pt x="0" y="0"/>
                    </a:moveTo>
                    <a:lnTo>
                      <a:pt x="1830860" y="0"/>
                    </a:lnTo>
                    <a:lnTo>
                      <a:pt x="1830860" y="1604856"/>
                    </a:lnTo>
                    <a:lnTo>
                      <a:pt x="0" y="1604856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76200" tIns="76200" rIns="76200" bIns="76200" numCol="1" spcCol="1270" anchor="t" anchorCtr="0">
                <a:noAutofit/>
              </a:bodyPr>
              <a:lstStyle/>
              <a:p>
                <a:pPr lvl="0" algn="l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kern="1200" dirty="0" smtClean="0">
                    <a:latin typeface="Century" panose="02040604050505020304" pitchFamily="18" charset="0"/>
                    <a:cs typeface="Arial" panose="020B0604020202020204" pitchFamily="34" charset="0"/>
                  </a:rPr>
                  <a:t>Form teams of up to 4 associates (individual entries accepted)</a:t>
                </a:r>
                <a:endParaRPr lang="en-US" kern="1200" dirty="0">
                  <a:latin typeface="Century" panose="02040604050505020304" pitchFamily="18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" name="Isosceles Triangle 7"/>
              <p:cNvSpPr/>
              <p:nvPr/>
            </p:nvSpPr>
            <p:spPr>
              <a:xfrm>
                <a:off x="3719533" y="2803931"/>
                <a:ext cx="345445" cy="345445"/>
              </a:xfrm>
              <a:prstGeom prst="triangle">
                <a:avLst>
                  <a:gd name="adj" fmla="val 100000"/>
                </a:avLst>
              </a:prstGeom>
              <a:solidFill>
                <a:schemeClr val="accent4"/>
              </a:solidFill>
              <a:ln>
                <a:solidFill>
                  <a:schemeClr val="accent4"/>
                </a:solidFill>
              </a:ln>
            </p:spPr>
            <p:style>
              <a:lnRef idx="2">
                <a:schemeClr val="accent3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/>
              </a:p>
            </p:txBody>
          </p:sp>
          <p:sp>
            <p:nvSpPr>
              <p:cNvPr id="9" name="L-Shape 8"/>
              <p:cNvSpPr/>
              <p:nvPr/>
            </p:nvSpPr>
            <p:spPr>
              <a:xfrm rot="5400000">
                <a:off x="4678888" y="2398613"/>
                <a:ext cx="1218747" cy="2027967"/>
              </a:xfrm>
              <a:prstGeom prst="corner">
                <a:avLst>
                  <a:gd name="adj1" fmla="val 16120"/>
                  <a:gd name="adj2" fmla="val 16110"/>
                </a:avLst>
              </a:prstGeom>
            </p:spPr>
            <p:style>
              <a:lnRef idx="2">
                <a:schemeClr val="accent4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/>
              </a:p>
            </p:txBody>
          </p:sp>
          <p:sp>
            <p:nvSpPr>
              <p:cNvPr id="10" name="Freeform 9"/>
              <p:cNvSpPr/>
              <p:nvPr/>
            </p:nvSpPr>
            <p:spPr>
              <a:xfrm>
                <a:off x="4475449" y="3004538"/>
                <a:ext cx="1830860" cy="1604856"/>
              </a:xfrm>
              <a:custGeom>
                <a:avLst/>
                <a:gdLst>
                  <a:gd name="connsiteX0" fmla="*/ 0 w 1830860"/>
                  <a:gd name="connsiteY0" fmla="*/ 0 h 1604856"/>
                  <a:gd name="connsiteX1" fmla="*/ 1830860 w 1830860"/>
                  <a:gd name="connsiteY1" fmla="*/ 0 h 1604856"/>
                  <a:gd name="connsiteX2" fmla="*/ 1830860 w 1830860"/>
                  <a:gd name="connsiteY2" fmla="*/ 1604856 h 1604856"/>
                  <a:gd name="connsiteX3" fmla="*/ 0 w 1830860"/>
                  <a:gd name="connsiteY3" fmla="*/ 1604856 h 1604856"/>
                  <a:gd name="connsiteX4" fmla="*/ 0 w 1830860"/>
                  <a:gd name="connsiteY4" fmla="*/ 0 h 1604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30860" h="1604856">
                    <a:moveTo>
                      <a:pt x="0" y="0"/>
                    </a:moveTo>
                    <a:lnTo>
                      <a:pt x="1830860" y="0"/>
                    </a:lnTo>
                    <a:lnTo>
                      <a:pt x="1830860" y="1604856"/>
                    </a:lnTo>
                    <a:lnTo>
                      <a:pt x="0" y="1604856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76200" tIns="76200" rIns="76200" bIns="76200" numCol="1" spcCol="1270" anchor="t" anchorCtr="0">
                <a:noAutofit/>
              </a:bodyPr>
              <a:lstStyle/>
              <a:p>
                <a:pPr lvl="0" algn="l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kern="1200" dirty="0" smtClean="0">
                    <a:latin typeface="Century" panose="02040604050505020304" pitchFamily="18" charset="0"/>
                    <a:cs typeface="Arial" panose="020B0604020202020204" pitchFamily="34" charset="0"/>
                  </a:rPr>
                  <a:t>Nominate a primary correspondent (lead)</a:t>
                </a:r>
                <a:endParaRPr lang="en-US" kern="1200" dirty="0">
                  <a:latin typeface="Century" panose="02040604050505020304" pitchFamily="18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" name="Isosceles Triangle 10"/>
              <p:cNvSpPr/>
              <p:nvPr/>
            </p:nvSpPr>
            <p:spPr>
              <a:xfrm>
                <a:off x="5960864" y="2249311"/>
                <a:ext cx="345445" cy="345445"/>
              </a:xfrm>
              <a:prstGeom prst="triangle">
                <a:avLst>
                  <a:gd name="adj" fmla="val 100000"/>
                </a:avLst>
              </a:prstGeom>
            </p:spPr>
            <p:style>
              <a:lnRef idx="2">
                <a:schemeClr val="accent5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5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5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/>
              </a:p>
            </p:txBody>
          </p:sp>
          <p:sp>
            <p:nvSpPr>
              <p:cNvPr id="12" name="L-Shape 11"/>
              <p:cNvSpPr/>
              <p:nvPr/>
            </p:nvSpPr>
            <p:spPr>
              <a:xfrm rot="5400000">
                <a:off x="6920219" y="1843993"/>
                <a:ext cx="1218747" cy="2027967"/>
              </a:xfrm>
              <a:prstGeom prst="corner">
                <a:avLst>
                  <a:gd name="adj1" fmla="val 16120"/>
                  <a:gd name="adj2" fmla="val 16110"/>
                </a:avLst>
              </a:prstGeom>
              <a:solidFill>
                <a:schemeClr val="accent5"/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6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6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6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/>
              </a:p>
            </p:txBody>
          </p:sp>
          <p:sp>
            <p:nvSpPr>
              <p:cNvPr id="13" name="Freeform 12"/>
              <p:cNvSpPr/>
              <p:nvPr/>
            </p:nvSpPr>
            <p:spPr>
              <a:xfrm>
                <a:off x="6716780" y="2449918"/>
                <a:ext cx="1830860" cy="1604856"/>
              </a:xfrm>
              <a:custGeom>
                <a:avLst/>
                <a:gdLst>
                  <a:gd name="connsiteX0" fmla="*/ 0 w 1830860"/>
                  <a:gd name="connsiteY0" fmla="*/ 0 h 1604856"/>
                  <a:gd name="connsiteX1" fmla="*/ 1830860 w 1830860"/>
                  <a:gd name="connsiteY1" fmla="*/ 0 h 1604856"/>
                  <a:gd name="connsiteX2" fmla="*/ 1830860 w 1830860"/>
                  <a:gd name="connsiteY2" fmla="*/ 1604856 h 1604856"/>
                  <a:gd name="connsiteX3" fmla="*/ 0 w 1830860"/>
                  <a:gd name="connsiteY3" fmla="*/ 1604856 h 1604856"/>
                  <a:gd name="connsiteX4" fmla="*/ 0 w 1830860"/>
                  <a:gd name="connsiteY4" fmla="*/ 0 h 1604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30860" h="1604856">
                    <a:moveTo>
                      <a:pt x="0" y="0"/>
                    </a:moveTo>
                    <a:lnTo>
                      <a:pt x="1830860" y="0"/>
                    </a:lnTo>
                    <a:lnTo>
                      <a:pt x="1830860" y="1604856"/>
                    </a:lnTo>
                    <a:lnTo>
                      <a:pt x="0" y="1604856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76200" tIns="76200" rIns="76200" bIns="76200" numCol="1" spcCol="1270" anchor="t" anchorCtr="0">
                <a:noAutofit/>
              </a:bodyPr>
              <a:lstStyle/>
              <a:p>
                <a:pPr lvl="0" algn="l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kern="1200" dirty="0" smtClean="0">
                    <a:latin typeface="Century" panose="02040604050505020304" pitchFamily="18" charset="0"/>
                    <a:cs typeface="Arial" panose="020B0604020202020204" pitchFamily="34" charset="0"/>
                  </a:rPr>
                  <a:t>Select a topic pertinent to MES</a:t>
                </a:r>
                <a:endParaRPr lang="en-US" kern="1200" dirty="0">
                  <a:latin typeface="Century" panose="02040604050505020304" pitchFamily="18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" name="Isosceles Triangle 13"/>
              <p:cNvSpPr/>
              <p:nvPr/>
            </p:nvSpPr>
            <p:spPr>
              <a:xfrm>
                <a:off x="8202196" y="1694692"/>
                <a:ext cx="345445" cy="345445"/>
              </a:xfrm>
              <a:prstGeom prst="triangle">
                <a:avLst>
                  <a:gd name="adj" fmla="val 100000"/>
                </a:avLst>
              </a:prstGeom>
              <a:solidFill>
                <a:schemeClr val="accent6">
                  <a:lumMod val="75000"/>
                </a:schemeClr>
              </a:solidFill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2">
                <a:schemeClr val="accent2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2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2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/>
              </a:p>
            </p:txBody>
          </p:sp>
          <p:sp>
            <p:nvSpPr>
              <p:cNvPr id="15" name="L-Shape 14"/>
              <p:cNvSpPr/>
              <p:nvPr/>
            </p:nvSpPr>
            <p:spPr>
              <a:xfrm rot="5400000">
                <a:off x="9161551" y="1289373"/>
                <a:ext cx="1218747" cy="2027967"/>
              </a:xfrm>
              <a:prstGeom prst="corner">
                <a:avLst>
                  <a:gd name="adj1" fmla="val 16120"/>
                  <a:gd name="adj2" fmla="val 16110"/>
                </a:avLst>
              </a:prstGeom>
              <a:solidFill>
                <a:schemeClr val="accent6">
                  <a:lumMod val="75000"/>
                </a:schemeClr>
              </a:solidFill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2">
                <a:schemeClr val="accent3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/>
              </a:p>
            </p:txBody>
          </p:sp>
          <p:sp>
            <p:nvSpPr>
              <p:cNvPr id="16" name="Freeform 15"/>
              <p:cNvSpPr/>
              <p:nvPr/>
            </p:nvSpPr>
            <p:spPr>
              <a:xfrm>
                <a:off x="8958111" y="1895299"/>
                <a:ext cx="1830860" cy="1604856"/>
              </a:xfrm>
              <a:custGeom>
                <a:avLst/>
                <a:gdLst>
                  <a:gd name="connsiteX0" fmla="*/ 0 w 1830860"/>
                  <a:gd name="connsiteY0" fmla="*/ 0 h 1604856"/>
                  <a:gd name="connsiteX1" fmla="*/ 1830860 w 1830860"/>
                  <a:gd name="connsiteY1" fmla="*/ 0 h 1604856"/>
                  <a:gd name="connsiteX2" fmla="*/ 1830860 w 1830860"/>
                  <a:gd name="connsiteY2" fmla="*/ 1604856 h 1604856"/>
                  <a:gd name="connsiteX3" fmla="*/ 0 w 1830860"/>
                  <a:gd name="connsiteY3" fmla="*/ 1604856 h 1604856"/>
                  <a:gd name="connsiteX4" fmla="*/ 0 w 1830860"/>
                  <a:gd name="connsiteY4" fmla="*/ 0 h 1604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30860" h="1604856">
                    <a:moveTo>
                      <a:pt x="0" y="0"/>
                    </a:moveTo>
                    <a:lnTo>
                      <a:pt x="1830860" y="0"/>
                    </a:lnTo>
                    <a:lnTo>
                      <a:pt x="1830860" y="1604856"/>
                    </a:lnTo>
                    <a:lnTo>
                      <a:pt x="0" y="1604856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76200" tIns="76200" rIns="76200" bIns="76200" numCol="1" spcCol="1270" anchor="t" anchorCtr="0">
                <a:noAutofit/>
              </a:bodyPr>
              <a:lstStyle/>
              <a:p>
                <a:pPr lvl="0" algn="l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kern="1200" dirty="0" smtClean="0">
                    <a:latin typeface="Century" panose="02040604050505020304" pitchFamily="18" charset="0"/>
                    <a:cs typeface="Arial" panose="020B0604020202020204" pitchFamily="34" charset="0"/>
                  </a:rPr>
                  <a:t>Submit your topic by 31</a:t>
                </a:r>
                <a:r>
                  <a:rPr lang="en-US" kern="1200" baseline="30000" dirty="0" smtClean="0">
                    <a:latin typeface="Century" panose="02040604050505020304" pitchFamily="18" charset="0"/>
                    <a:cs typeface="Arial" panose="020B0604020202020204" pitchFamily="34" charset="0"/>
                  </a:rPr>
                  <a:t>st</a:t>
                </a:r>
                <a:r>
                  <a:rPr lang="en-US" kern="1200" dirty="0" smtClean="0">
                    <a:latin typeface="Century" panose="02040604050505020304" pitchFamily="18" charset="0"/>
                    <a:cs typeface="Arial" panose="020B0604020202020204" pitchFamily="34" charset="0"/>
                  </a:rPr>
                  <a:t> July 2017</a:t>
                </a:r>
                <a:endParaRPr lang="en-US" kern="1200" dirty="0">
                  <a:latin typeface="Century" panose="02040604050505020304" pitchFamily="18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7" name="Freeform 16"/>
            <p:cNvSpPr/>
            <p:nvPr/>
          </p:nvSpPr>
          <p:spPr>
            <a:xfrm>
              <a:off x="1800538" y="2305764"/>
              <a:ext cx="1806689" cy="531358"/>
            </a:xfrm>
            <a:custGeom>
              <a:avLst/>
              <a:gdLst>
                <a:gd name="connsiteX0" fmla="*/ 0 w 1830860"/>
                <a:gd name="connsiteY0" fmla="*/ 0 h 1604856"/>
                <a:gd name="connsiteX1" fmla="*/ 1830860 w 1830860"/>
                <a:gd name="connsiteY1" fmla="*/ 0 h 1604856"/>
                <a:gd name="connsiteX2" fmla="*/ 1830860 w 1830860"/>
                <a:gd name="connsiteY2" fmla="*/ 1604856 h 1604856"/>
                <a:gd name="connsiteX3" fmla="*/ 0 w 1830860"/>
                <a:gd name="connsiteY3" fmla="*/ 1604856 h 1604856"/>
                <a:gd name="connsiteX4" fmla="*/ 0 w 1830860"/>
                <a:gd name="connsiteY4" fmla="*/ 0 h 1604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0860" h="1604856">
                  <a:moveTo>
                    <a:pt x="0" y="0"/>
                  </a:moveTo>
                  <a:lnTo>
                    <a:pt x="1830860" y="0"/>
                  </a:lnTo>
                  <a:lnTo>
                    <a:pt x="1830860" y="1604856"/>
                  </a:lnTo>
                  <a:lnTo>
                    <a:pt x="0" y="160485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6200" tIns="76200" rIns="76200" bIns="762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b="1" kern="1200" dirty="0" smtClean="0">
                  <a:latin typeface="Century" panose="02040604050505020304" pitchFamily="18" charset="0"/>
                  <a:cs typeface="Arial" panose="020B0604020202020204" pitchFamily="34" charset="0"/>
                </a:rPr>
                <a:t>Step 1</a:t>
              </a:r>
              <a:endParaRPr lang="en-US" b="1" kern="1200" dirty="0">
                <a:latin typeface="Century" panose="020406040505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18" name="Freeform 17"/>
            <p:cNvSpPr/>
            <p:nvPr/>
          </p:nvSpPr>
          <p:spPr>
            <a:xfrm>
              <a:off x="4054186" y="1768417"/>
              <a:ext cx="1806689" cy="531358"/>
            </a:xfrm>
            <a:custGeom>
              <a:avLst/>
              <a:gdLst>
                <a:gd name="connsiteX0" fmla="*/ 0 w 1830860"/>
                <a:gd name="connsiteY0" fmla="*/ 0 h 1604856"/>
                <a:gd name="connsiteX1" fmla="*/ 1830860 w 1830860"/>
                <a:gd name="connsiteY1" fmla="*/ 0 h 1604856"/>
                <a:gd name="connsiteX2" fmla="*/ 1830860 w 1830860"/>
                <a:gd name="connsiteY2" fmla="*/ 1604856 h 1604856"/>
                <a:gd name="connsiteX3" fmla="*/ 0 w 1830860"/>
                <a:gd name="connsiteY3" fmla="*/ 1604856 h 1604856"/>
                <a:gd name="connsiteX4" fmla="*/ 0 w 1830860"/>
                <a:gd name="connsiteY4" fmla="*/ 0 h 1604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0860" h="1604856">
                  <a:moveTo>
                    <a:pt x="0" y="0"/>
                  </a:moveTo>
                  <a:lnTo>
                    <a:pt x="1830860" y="0"/>
                  </a:lnTo>
                  <a:lnTo>
                    <a:pt x="1830860" y="1604856"/>
                  </a:lnTo>
                  <a:lnTo>
                    <a:pt x="0" y="160485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6200" tIns="76200" rIns="76200" bIns="762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b="1" kern="1200" dirty="0" smtClean="0">
                  <a:latin typeface="Century" panose="02040604050505020304" pitchFamily="18" charset="0"/>
                  <a:cs typeface="Arial" panose="020B0604020202020204" pitchFamily="34" charset="0"/>
                </a:rPr>
                <a:t>Step 2</a:t>
              </a:r>
              <a:endParaRPr lang="en-US" b="1" kern="1200" dirty="0">
                <a:latin typeface="Century" panose="020406040505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19" name="Freeform 18"/>
            <p:cNvSpPr/>
            <p:nvPr/>
          </p:nvSpPr>
          <p:spPr>
            <a:xfrm>
              <a:off x="6283201" y="1210222"/>
              <a:ext cx="1806689" cy="531358"/>
            </a:xfrm>
            <a:custGeom>
              <a:avLst/>
              <a:gdLst>
                <a:gd name="connsiteX0" fmla="*/ 0 w 1830860"/>
                <a:gd name="connsiteY0" fmla="*/ 0 h 1604856"/>
                <a:gd name="connsiteX1" fmla="*/ 1830860 w 1830860"/>
                <a:gd name="connsiteY1" fmla="*/ 0 h 1604856"/>
                <a:gd name="connsiteX2" fmla="*/ 1830860 w 1830860"/>
                <a:gd name="connsiteY2" fmla="*/ 1604856 h 1604856"/>
                <a:gd name="connsiteX3" fmla="*/ 0 w 1830860"/>
                <a:gd name="connsiteY3" fmla="*/ 1604856 h 1604856"/>
                <a:gd name="connsiteX4" fmla="*/ 0 w 1830860"/>
                <a:gd name="connsiteY4" fmla="*/ 0 h 1604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0860" h="1604856">
                  <a:moveTo>
                    <a:pt x="0" y="0"/>
                  </a:moveTo>
                  <a:lnTo>
                    <a:pt x="1830860" y="0"/>
                  </a:lnTo>
                  <a:lnTo>
                    <a:pt x="1830860" y="1604856"/>
                  </a:lnTo>
                  <a:lnTo>
                    <a:pt x="0" y="160485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6200" tIns="76200" rIns="76200" bIns="762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b="1" kern="1200" dirty="0" smtClean="0">
                  <a:latin typeface="Century" panose="02040604050505020304" pitchFamily="18" charset="0"/>
                  <a:cs typeface="Arial" panose="020B0604020202020204" pitchFamily="34" charset="0"/>
                </a:rPr>
                <a:t>Step 3</a:t>
              </a:r>
              <a:endParaRPr lang="en-US" b="1" kern="1200" dirty="0">
                <a:latin typeface="Century" panose="020406040505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20" name="Freeform 19"/>
            <p:cNvSpPr/>
            <p:nvPr/>
          </p:nvSpPr>
          <p:spPr>
            <a:xfrm>
              <a:off x="8524533" y="656435"/>
              <a:ext cx="1806689" cy="531358"/>
            </a:xfrm>
            <a:custGeom>
              <a:avLst/>
              <a:gdLst>
                <a:gd name="connsiteX0" fmla="*/ 0 w 1830860"/>
                <a:gd name="connsiteY0" fmla="*/ 0 h 1604856"/>
                <a:gd name="connsiteX1" fmla="*/ 1830860 w 1830860"/>
                <a:gd name="connsiteY1" fmla="*/ 0 h 1604856"/>
                <a:gd name="connsiteX2" fmla="*/ 1830860 w 1830860"/>
                <a:gd name="connsiteY2" fmla="*/ 1604856 h 1604856"/>
                <a:gd name="connsiteX3" fmla="*/ 0 w 1830860"/>
                <a:gd name="connsiteY3" fmla="*/ 1604856 h 1604856"/>
                <a:gd name="connsiteX4" fmla="*/ 0 w 1830860"/>
                <a:gd name="connsiteY4" fmla="*/ 0 h 1604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0860" h="1604856">
                  <a:moveTo>
                    <a:pt x="0" y="0"/>
                  </a:moveTo>
                  <a:lnTo>
                    <a:pt x="1830860" y="0"/>
                  </a:lnTo>
                  <a:lnTo>
                    <a:pt x="1830860" y="1604856"/>
                  </a:lnTo>
                  <a:lnTo>
                    <a:pt x="0" y="160485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6200" tIns="76200" rIns="76200" bIns="762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b="1" kern="1200" dirty="0" smtClean="0">
                  <a:latin typeface="Century" panose="02040604050505020304" pitchFamily="18" charset="0"/>
                  <a:cs typeface="Arial" panose="020B0604020202020204" pitchFamily="34" charset="0"/>
                </a:rPr>
                <a:t>Step 4</a:t>
              </a:r>
              <a:endParaRPr lang="en-US" b="1" kern="1200" dirty="0">
                <a:latin typeface="Century" panose="02040604050505020304" pitchFamily="18" charset="0"/>
                <a:cs typeface="Arial" panose="020B0604020202020204" pitchFamily="34" charset="0"/>
              </a:endParaRPr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2508963" y="282184"/>
            <a:ext cx="957331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" panose="02040604050505020304" pitchFamily="18" charset="0"/>
                <a:cs typeface="Arial" panose="020B0604020202020204" pitchFamily="34" charset="0"/>
              </a:rPr>
              <a:t>MES </a:t>
            </a:r>
            <a:r>
              <a:rPr lang="en-US" sz="44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" panose="02040604050505020304" pitchFamily="18" charset="0"/>
                <a:cs typeface="Arial" panose="020B0604020202020204" pitchFamily="34" charset="0"/>
              </a:rPr>
              <a:t>Whitepaper Challenge 2017</a:t>
            </a:r>
            <a:endParaRPr lang="en-US" sz="4400" b="1" dirty="0">
              <a:solidFill>
                <a:schemeClr val="tx1">
                  <a:lumMod val="75000"/>
                  <a:lumOff val="25000"/>
                </a:schemeClr>
              </a:solidFill>
              <a:latin typeface="Century" panose="02040604050505020304" pitchFamily="18" charset="0"/>
              <a:cs typeface="Arial" panose="020B0604020202020204" pitchFamily="34" charset="0"/>
            </a:endParaRPr>
          </a:p>
        </p:txBody>
      </p:sp>
      <p:grpSp>
        <p:nvGrpSpPr>
          <p:cNvPr id="41" name="Group 40"/>
          <p:cNvGrpSpPr/>
          <p:nvPr/>
        </p:nvGrpSpPr>
        <p:grpSpPr>
          <a:xfrm>
            <a:off x="78309" y="125297"/>
            <a:ext cx="3332661" cy="3020466"/>
            <a:chOff x="78309" y="281709"/>
            <a:chExt cx="3332661" cy="3020466"/>
          </a:xfrm>
        </p:grpSpPr>
        <p:sp>
          <p:nvSpPr>
            <p:cNvPr id="45" name="Isosceles Triangle 44"/>
            <p:cNvSpPr/>
            <p:nvPr/>
          </p:nvSpPr>
          <p:spPr>
            <a:xfrm>
              <a:off x="78309" y="1157617"/>
              <a:ext cx="3332661" cy="1858949"/>
            </a:xfrm>
            <a:prstGeom prst="triangle">
              <a:avLst>
                <a:gd name="adj" fmla="val 50109"/>
              </a:avLst>
            </a:prstGeom>
            <a:solidFill>
              <a:srgbClr val="3F3F3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46" name="Group 24"/>
            <p:cNvGrpSpPr/>
            <p:nvPr/>
          </p:nvGrpSpPr>
          <p:grpSpPr>
            <a:xfrm>
              <a:off x="1382438" y="281709"/>
              <a:ext cx="724403" cy="854178"/>
              <a:chOff x="3200399" y="591377"/>
              <a:chExt cx="2297017" cy="2709802"/>
            </a:xfrm>
            <a:solidFill>
              <a:sysClr val="window" lastClr="FFFFFF"/>
            </a:solidFill>
            <a:effectLst/>
            <a:scene3d>
              <a:camera prst="perspectiveBelow">
                <a:rot lat="600000" lon="0" rev="0"/>
              </a:camera>
              <a:lightRig rig="flat" dir="t"/>
            </a:scene3d>
          </p:grpSpPr>
          <p:sp>
            <p:nvSpPr>
              <p:cNvPr id="56" name="Freeform 55"/>
              <p:cNvSpPr/>
              <p:nvPr/>
            </p:nvSpPr>
            <p:spPr>
              <a:xfrm rot="16200000">
                <a:off x="3585037" y="207384"/>
                <a:ext cx="1527741" cy="2295728"/>
              </a:xfrm>
              <a:custGeom>
                <a:avLst/>
                <a:gdLst>
                  <a:gd name="connsiteX0" fmla="*/ 0 w 2286000"/>
                  <a:gd name="connsiteY0" fmla="*/ 0 h 2286000"/>
                  <a:gd name="connsiteX1" fmla="*/ 1143000 w 2286000"/>
                  <a:gd name="connsiteY1" fmla="*/ 0 h 2286000"/>
                  <a:gd name="connsiteX2" fmla="*/ 2132867 w 2286000"/>
                  <a:gd name="connsiteY2" fmla="*/ 571501 h 2286000"/>
                  <a:gd name="connsiteX3" fmla="*/ 2132865 w 2286000"/>
                  <a:gd name="connsiteY3" fmla="*/ 1714501 h 2286000"/>
                  <a:gd name="connsiteX4" fmla="*/ 1142996 w 2286000"/>
                  <a:gd name="connsiteY4" fmla="*/ 2285999 h 2286000"/>
                  <a:gd name="connsiteX5" fmla="*/ 0 w 2286000"/>
                  <a:gd name="connsiteY5" fmla="*/ 2286000 h 2286000"/>
                  <a:gd name="connsiteX6" fmla="*/ 0 w 2286000"/>
                  <a:gd name="connsiteY6" fmla="*/ 0 h 2286000"/>
                  <a:gd name="connsiteX0" fmla="*/ 399239 w 2337044"/>
                  <a:gd name="connsiteY0" fmla="*/ 0 h 2286000"/>
                  <a:gd name="connsiteX1" fmla="*/ 1143000 w 2337044"/>
                  <a:gd name="connsiteY1" fmla="*/ 0 h 2286000"/>
                  <a:gd name="connsiteX2" fmla="*/ 2132867 w 2337044"/>
                  <a:gd name="connsiteY2" fmla="*/ 571501 h 2286000"/>
                  <a:gd name="connsiteX3" fmla="*/ 2132865 w 2337044"/>
                  <a:gd name="connsiteY3" fmla="*/ 1714501 h 2286000"/>
                  <a:gd name="connsiteX4" fmla="*/ 1142996 w 2337044"/>
                  <a:gd name="connsiteY4" fmla="*/ 2285999 h 2286000"/>
                  <a:gd name="connsiteX5" fmla="*/ 0 w 2337044"/>
                  <a:gd name="connsiteY5" fmla="*/ 2286000 h 2286000"/>
                  <a:gd name="connsiteX6" fmla="*/ 399239 w 2337044"/>
                  <a:gd name="connsiteY6" fmla="*/ 0 h 2286000"/>
                  <a:gd name="connsiteX0" fmla="*/ 0 w 1937805"/>
                  <a:gd name="connsiteY0" fmla="*/ 0 h 2295728"/>
                  <a:gd name="connsiteX1" fmla="*/ 743761 w 1937805"/>
                  <a:gd name="connsiteY1" fmla="*/ 0 h 2295728"/>
                  <a:gd name="connsiteX2" fmla="*/ 1733628 w 1937805"/>
                  <a:gd name="connsiteY2" fmla="*/ 571501 h 2295728"/>
                  <a:gd name="connsiteX3" fmla="*/ 1733626 w 1937805"/>
                  <a:gd name="connsiteY3" fmla="*/ 1714501 h 2295728"/>
                  <a:gd name="connsiteX4" fmla="*/ 743757 w 1937805"/>
                  <a:gd name="connsiteY4" fmla="*/ 2285999 h 2295728"/>
                  <a:gd name="connsiteX5" fmla="*/ 0 w 1937805"/>
                  <a:gd name="connsiteY5" fmla="*/ 2295728 h 2295728"/>
                  <a:gd name="connsiteX6" fmla="*/ 0 w 1937805"/>
                  <a:gd name="connsiteY6" fmla="*/ 0 h 2295728"/>
                  <a:gd name="connsiteX0" fmla="*/ 417071 w 1937805"/>
                  <a:gd name="connsiteY0" fmla="*/ 0 h 2295728"/>
                  <a:gd name="connsiteX1" fmla="*/ 743761 w 1937805"/>
                  <a:gd name="connsiteY1" fmla="*/ 0 h 2295728"/>
                  <a:gd name="connsiteX2" fmla="*/ 1733628 w 1937805"/>
                  <a:gd name="connsiteY2" fmla="*/ 571501 h 2295728"/>
                  <a:gd name="connsiteX3" fmla="*/ 1733626 w 1937805"/>
                  <a:gd name="connsiteY3" fmla="*/ 1714501 h 2295728"/>
                  <a:gd name="connsiteX4" fmla="*/ 743757 w 1937805"/>
                  <a:gd name="connsiteY4" fmla="*/ 2285999 h 2295728"/>
                  <a:gd name="connsiteX5" fmla="*/ 0 w 1937805"/>
                  <a:gd name="connsiteY5" fmla="*/ 2295728 h 2295728"/>
                  <a:gd name="connsiteX6" fmla="*/ 417071 w 1937805"/>
                  <a:gd name="connsiteY6" fmla="*/ 0 h 2295728"/>
                  <a:gd name="connsiteX0" fmla="*/ 7007 w 1527741"/>
                  <a:gd name="connsiteY0" fmla="*/ 0 h 2295728"/>
                  <a:gd name="connsiteX1" fmla="*/ 333697 w 1527741"/>
                  <a:gd name="connsiteY1" fmla="*/ 0 h 2295728"/>
                  <a:gd name="connsiteX2" fmla="*/ 1323564 w 1527741"/>
                  <a:gd name="connsiteY2" fmla="*/ 571501 h 2295728"/>
                  <a:gd name="connsiteX3" fmla="*/ 1323562 w 1527741"/>
                  <a:gd name="connsiteY3" fmla="*/ 1714501 h 2295728"/>
                  <a:gd name="connsiteX4" fmla="*/ 333693 w 1527741"/>
                  <a:gd name="connsiteY4" fmla="*/ 2285999 h 2295728"/>
                  <a:gd name="connsiteX5" fmla="*/ 0 w 1527741"/>
                  <a:gd name="connsiteY5" fmla="*/ 2295728 h 2295728"/>
                  <a:gd name="connsiteX6" fmla="*/ 7007 w 1527741"/>
                  <a:gd name="connsiteY6" fmla="*/ 0 h 2295728"/>
                  <a:gd name="connsiteX0" fmla="*/ 2336 w 1529717"/>
                  <a:gd name="connsiteY0" fmla="*/ 5316 h 2295728"/>
                  <a:gd name="connsiteX1" fmla="*/ 335673 w 1529717"/>
                  <a:gd name="connsiteY1" fmla="*/ 0 h 2295728"/>
                  <a:gd name="connsiteX2" fmla="*/ 1325540 w 1529717"/>
                  <a:gd name="connsiteY2" fmla="*/ 571501 h 2295728"/>
                  <a:gd name="connsiteX3" fmla="*/ 1325538 w 1529717"/>
                  <a:gd name="connsiteY3" fmla="*/ 1714501 h 2295728"/>
                  <a:gd name="connsiteX4" fmla="*/ 335669 w 1529717"/>
                  <a:gd name="connsiteY4" fmla="*/ 2285999 h 2295728"/>
                  <a:gd name="connsiteX5" fmla="*/ 1976 w 1529717"/>
                  <a:gd name="connsiteY5" fmla="*/ 2295728 h 2295728"/>
                  <a:gd name="connsiteX6" fmla="*/ 2336 w 1529717"/>
                  <a:gd name="connsiteY6" fmla="*/ 5316 h 2295728"/>
                  <a:gd name="connsiteX0" fmla="*/ 3016 w 1527741"/>
                  <a:gd name="connsiteY0" fmla="*/ 0 h 2295728"/>
                  <a:gd name="connsiteX1" fmla="*/ 333697 w 1527741"/>
                  <a:gd name="connsiteY1" fmla="*/ 0 h 2295728"/>
                  <a:gd name="connsiteX2" fmla="*/ 1323564 w 1527741"/>
                  <a:gd name="connsiteY2" fmla="*/ 571501 h 2295728"/>
                  <a:gd name="connsiteX3" fmla="*/ 1323562 w 1527741"/>
                  <a:gd name="connsiteY3" fmla="*/ 1714501 h 2295728"/>
                  <a:gd name="connsiteX4" fmla="*/ 333693 w 1527741"/>
                  <a:gd name="connsiteY4" fmla="*/ 2285999 h 2295728"/>
                  <a:gd name="connsiteX5" fmla="*/ 0 w 1527741"/>
                  <a:gd name="connsiteY5" fmla="*/ 2295728 h 2295728"/>
                  <a:gd name="connsiteX6" fmla="*/ 3016 w 1527741"/>
                  <a:gd name="connsiteY6" fmla="*/ 0 h 2295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27741" h="2295728">
                    <a:moveTo>
                      <a:pt x="3016" y="0"/>
                    </a:moveTo>
                    <a:lnTo>
                      <a:pt x="333697" y="0"/>
                    </a:lnTo>
                    <a:cubicBezTo>
                      <a:pt x="742052" y="0"/>
                      <a:pt x="1119387" y="217856"/>
                      <a:pt x="1323564" y="571501"/>
                    </a:cubicBezTo>
                    <a:cubicBezTo>
                      <a:pt x="1527741" y="925147"/>
                      <a:pt x="1527740" y="1360856"/>
                      <a:pt x="1323562" y="1714501"/>
                    </a:cubicBezTo>
                    <a:cubicBezTo>
                      <a:pt x="1119384" y="2068146"/>
                      <a:pt x="742048" y="2286000"/>
                      <a:pt x="333693" y="2285999"/>
                    </a:cubicBezTo>
                    <a:lnTo>
                      <a:pt x="0" y="2295728"/>
                    </a:lnTo>
                    <a:cubicBezTo>
                      <a:pt x="2336" y="1530485"/>
                      <a:pt x="680" y="765243"/>
                      <a:pt x="3016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85000"/>
                </a:sysClr>
              </a:solidFill>
              <a:ln w="25400" cap="flat" cmpd="sng" algn="ctr">
                <a:noFill/>
                <a:prstDash val="solid"/>
              </a:ln>
              <a:effectLst/>
              <a:sp3d prstMaterial="metal">
                <a:bevelT w="12700" h="381000"/>
                <a:bevelB w="12700" h="381000"/>
              </a:sp3d>
            </p:spPr>
            <p:txBody>
              <a:bodyPr vert="vert" lIns="91440" tIns="45720" rIns="64008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7" name="Rectangle 56"/>
              <p:cNvSpPr/>
              <p:nvPr/>
            </p:nvSpPr>
            <p:spPr>
              <a:xfrm>
                <a:off x="3200399" y="2081979"/>
                <a:ext cx="2297017" cy="1219200"/>
              </a:xfrm>
              <a:prstGeom prst="rect">
                <a:avLst/>
              </a:prstGeom>
              <a:solidFill>
                <a:srgbClr val="FFC000"/>
              </a:solidFill>
              <a:ln w="25400" cap="flat" cmpd="sng" algn="ctr">
                <a:noFill/>
                <a:prstDash val="solid"/>
              </a:ln>
              <a:effectLst/>
              <a:sp3d prstMaterial="metal">
                <a:bevelT w="12700" h="381000"/>
                <a:bevelB w="12700" h="381000"/>
              </a:sp3d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</p:grpSp>
        <p:grpSp>
          <p:nvGrpSpPr>
            <p:cNvPr id="47" name="Group 24"/>
            <p:cNvGrpSpPr/>
            <p:nvPr/>
          </p:nvGrpSpPr>
          <p:grpSpPr>
            <a:xfrm>
              <a:off x="1273604" y="399304"/>
              <a:ext cx="942071" cy="1110842"/>
              <a:chOff x="3200399" y="591377"/>
              <a:chExt cx="2297017" cy="2709802"/>
            </a:xfrm>
            <a:solidFill>
              <a:sysClr val="window" lastClr="FFFFFF"/>
            </a:solidFill>
            <a:effectLst/>
            <a:scene3d>
              <a:camera prst="perspectiveBelow">
                <a:rot lat="600000" lon="0" rev="0"/>
              </a:camera>
              <a:lightRig rig="flat" dir="t"/>
            </a:scene3d>
          </p:grpSpPr>
          <p:sp>
            <p:nvSpPr>
              <p:cNvPr id="54" name="Freeform 53"/>
              <p:cNvSpPr/>
              <p:nvPr/>
            </p:nvSpPr>
            <p:spPr>
              <a:xfrm rot="16200000">
                <a:off x="3585037" y="207384"/>
                <a:ext cx="1527741" cy="2295728"/>
              </a:xfrm>
              <a:custGeom>
                <a:avLst/>
                <a:gdLst>
                  <a:gd name="connsiteX0" fmla="*/ 0 w 2286000"/>
                  <a:gd name="connsiteY0" fmla="*/ 0 h 2286000"/>
                  <a:gd name="connsiteX1" fmla="*/ 1143000 w 2286000"/>
                  <a:gd name="connsiteY1" fmla="*/ 0 h 2286000"/>
                  <a:gd name="connsiteX2" fmla="*/ 2132867 w 2286000"/>
                  <a:gd name="connsiteY2" fmla="*/ 571501 h 2286000"/>
                  <a:gd name="connsiteX3" fmla="*/ 2132865 w 2286000"/>
                  <a:gd name="connsiteY3" fmla="*/ 1714501 h 2286000"/>
                  <a:gd name="connsiteX4" fmla="*/ 1142996 w 2286000"/>
                  <a:gd name="connsiteY4" fmla="*/ 2285999 h 2286000"/>
                  <a:gd name="connsiteX5" fmla="*/ 0 w 2286000"/>
                  <a:gd name="connsiteY5" fmla="*/ 2286000 h 2286000"/>
                  <a:gd name="connsiteX6" fmla="*/ 0 w 2286000"/>
                  <a:gd name="connsiteY6" fmla="*/ 0 h 2286000"/>
                  <a:gd name="connsiteX0" fmla="*/ 399239 w 2337044"/>
                  <a:gd name="connsiteY0" fmla="*/ 0 h 2286000"/>
                  <a:gd name="connsiteX1" fmla="*/ 1143000 w 2337044"/>
                  <a:gd name="connsiteY1" fmla="*/ 0 h 2286000"/>
                  <a:gd name="connsiteX2" fmla="*/ 2132867 w 2337044"/>
                  <a:gd name="connsiteY2" fmla="*/ 571501 h 2286000"/>
                  <a:gd name="connsiteX3" fmla="*/ 2132865 w 2337044"/>
                  <a:gd name="connsiteY3" fmla="*/ 1714501 h 2286000"/>
                  <a:gd name="connsiteX4" fmla="*/ 1142996 w 2337044"/>
                  <a:gd name="connsiteY4" fmla="*/ 2285999 h 2286000"/>
                  <a:gd name="connsiteX5" fmla="*/ 0 w 2337044"/>
                  <a:gd name="connsiteY5" fmla="*/ 2286000 h 2286000"/>
                  <a:gd name="connsiteX6" fmla="*/ 399239 w 2337044"/>
                  <a:gd name="connsiteY6" fmla="*/ 0 h 2286000"/>
                  <a:gd name="connsiteX0" fmla="*/ 0 w 1937805"/>
                  <a:gd name="connsiteY0" fmla="*/ 0 h 2295728"/>
                  <a:gd name="connsiteX1" fmla="*/ 743761 w 1937805"/>
                  <a:gd name="connsiteY1" fmla="*/ 0 h 2295728"/>
                  <a:gd name="connsiteX2" fmla="*/ 1733628 w 1937805"/>
                  <a:gd name="connsiteY2" fmla="*/ 571501 h 2295728"/>
                  <a:gd name="connsiteX3" fmla="*/ 1733626 w 1937805"/>
                  <a:gd name="connsiteY3" fmla="*/ 1714501 h 2295728"/>
                  <a:gd name="connsiteX4" fmla="*/ 743757 w 1937805"/>
                  <a:gd name="connsiteY4" fmla="*/ 2285999 h 2295728"/>
                  <a:gd name="connsiteX5" fmla="*/ 0 w 1937805"/>
                  <a:gd name="connsiteY5" fmla="*/ 2295728 h 2295728"/>
                  <a:gd name="connsiteX6" fmla="*/ 0 w 1937805"/>
                  <a:gd name="connsiteY6" fmla="*/ 0 h 2295728"/>
                  <a:gd name="connsiteX0" fmla="*/ 417071 w 1937805"/>
                  <a:gd name="connsiteY0" fmla="*/ 0 h 2295728"/>
                  <a:gd name="connsiteX1" fmla="*/ 743761 w 1937805"/>
                  <a:gd name="connsiteY1" fmla="*/ 0 h 2295728"/>
                  <a:gd name="connsiteX2" fmla="*/ 1733628 w 1937805"/>
                  <a:gd name="connsiteY2" fmla="*/ 571501 h 2295728"/>
                  <a:gd name="connsiteX3" fmla="*/ 1733626 w 1937805"/>
                  <a:gd name="connsiteY3" fmla="*/ 1714501 h 2295728"/>
                  <a:gd name="connsiteX4" fmla="*/ 743757 w 1937805"/>
                  <a:gd name="connsiteY4" fmla="*/ 2285999 h 2295728"/>
                  <a:gd name="connsiteX5" fmla="*/ 0 w 1937805"/>
                  <a:gd name="connsiteY5" fmla="*/ 2295728 h 2295728"/>
                  <a:gd name="connsiteX6" fmla="*/ 417071 w 1937805"/>
                  <a:gd name="connsiteY6" fmla="*/ 0 h 2295728"/>
                  <a:gd name="connsiteX0" fmla="*/ 7007 w 1527741"/>
                  <a:gd name="connsiteY0" fmla="*/ 0 h 2295728"/>
                  <a:gd name="connsiteX1" fmla="*/ 333697 w 1527741"/>
                  <a:gd name="connsiteY1" fmla="*/ 0 h 2295728"/>
                  <a:gd name="connsiteX2" fmla="*/ 1323564 w 1527741"/>
                  <a:gd name="connsiteY2" fmla="*/ 571501 h 2295728"/>
                  <a:gd name="connsiteX3" fmla="*/ 1323562 w 1527741"/>
                  <a:gd name="connsiteY3" fmla="*/ 1714501 h 2295728"/>
                  <a:gd name="connsiteX4" fmla="*/ 333693 w 1527741"/>
                  <a:gd name="connsiteY4" fmla="*/ 2285999 h 2295728"/>
                  <a:gd name="connsiteX5" fmla="*/ 0 w 1527741"/>
                  <a:gd name="connsiteY5" fmla="*/ 2295728 h 2295728"/>
                  <a:gd name="connsiteX6" fmla="*/ 7007 w 1527741"/>
                  <a:gd name="connsiteY6" fmla="*/ 0 h 2295728"/>
                  <a:gd name="connsiteX0" fmla="*/ 2336 w 1529717"/>
                  <a:gd name="connsiteY0" fmla="*/ 5316 h 2295728"/>
                  <a:gd name="connsiteX1" fmla="*/ 335673 w 1529717"/>
                  <a:gd name="connsiteY1" fmla="*/ 0 h 2295728"/>
                  <a:gd name="connsiteX2" fmla="*/ 1325540 w 1529717"/>
                  <a:gd name="connsiteY2" fmla="*/ 571501 h 2295728"/>
                  <a:gd name="connsiteX3" fmla="*/ 1325538 w 1529717"/>
                  <a:gd name="connsiteY3" fmla="*/ 1714501 h 2295728"/>
                  <a:gd name="connsiteX4" fmla="*/ 335669 w 1529717"/>
                  <a:gd name="connsiteY4" fmla="*/ 2285999 h 2295728"/>
                  <a:gd name="connsiteX5" fmla="*/ 1976 w 1529717"/>
                  <a:gd name="connsiteY5" fmla="*/ 2295728 h 2295728"/>
                  <a:gd name="connsiteX6" fmla="*/ 2336 w 1529717"/>
                  <a:gd name="connsiteY6" fmla="*/ 5316 h 2295728"/>
                  <a:gd name="connsiteX0" fmla="*/ 3016 w 1527741"/>
                  <a:gd name="connsiteY0" fmla="*/ 0 h 2295728"/>
                  <a:gd name="connsiteX1" fmla="*/ 333697 w 1527741"/>
                  <a:gd name="connsiteY1" fmla="*/ 0 h 2295728"/>
                  <a:gd name="connsiteX2" fmla="*/ 1323564 w 1527741"/>
                  <a:gd name="connsiteY2" fmla="*/ 571501 h 2295728"/>
                  <a:gd name="connsiteX3" fmla="*/ 1323562 w 1527741"/>
                  <a:gd name="connsiteY3" fmla="*/ 1714501 h 2295728"/>
                  <a:gd name="connsiteX4" fmla="*/ 333693 w 1527741"/>
                  <a:gd name="connsiteY4" fmla="*/ 2285999 h 2295728"/>
                  <a:gd name="connsiteX5" fmla="*/ 0 w 1527741"/>
                  <a:gd name="connsiteY5" fmla="*/ 2295728 h 2295728"/>
                  <a:gd name="connsiteX6" fmla="*/ 3016 w 1527741"/>
                  <a:gd name="connsiteY6" fmla="*/ 0 h 2295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27741" h="2295728">
                    <a:moveTo>
                      <a:pt x="3016" y="0"/>
                    </a:moveTo>
                    <a:lnTo>
                      <a:pt x="333697" y="0"/>
                    </a:lnTo>
                    <a:cubicBezTo>
                      <a:pt x="742052" y="0"/>
                      <a:pt x="1119387" y="217856"/>
                      <a:pt x="1323564" y="571501"/>
                    </a:cubicBezTo>
                    <a:cubicBezTo>
                      <a:pt x="1527741" y="925147"/>
                      <a:pt x="1527740" y="1360856"/>
                      <a:pt x="1323562" y="1714501"/>
                    </a:cubicBezTo>
                    <a:cubicBezTo>
                      <a:pt x="1119384" y="2068146"/>
                      <a:pt x="742048" y="2286000"/>
                      <a:pt x="333693" y="2285999"/>
                    </a:cubicBezTo>
                    <a:lnTo>
                      <a:pt x="0" y="2295728"/>
                    </a:lnTo>
                    <a:cubicBezTo>
                      <a:pt x="2336" y="1530485"/>
                      <a:pt x="680" y="765243"/>
                      <a:pt x="3016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85000"/>
                </a:sysClr>
              </a:solidFill>
              <a:ln w="25400" cap="flat" cmpd="sng" algn="ctr">
                <a:noFill/>
                <a:prstDash val="solid"/>
              </a:ln>
              <a:effectLst/>
              <a:sp3d prstMaterial="metal">
                <a:bevelT w="12700" h="381000"/>
                <a:bevelB w="12700" h="381000"/>
              </a:sp3d>
            </p:spPr>
            <p:txBody>
              <a:bodyPr vert="vert" lIns="91440" tIns="45720" rIns="64008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5" name="Rectangle 54"/>
              <p:cNvSpPr/>
              <p:nvPr/>
            </p:nvSpPr>
            <p:spPr>
              <a:xfrm>
                <a:off x="3200399" y="2081979"/>
                <a:ext cx="2297017" cy="1219200"/>
              </a:xfrm>
              <a:prstGeom prst="rect">
                <a:avLst/>
              </a:prstGeom>
              <a:solidFill>
                <a:srgbClr val="FFC000"/>
              </a:solidFill>
              <a:ln w="25400" cap="flat" cmpd="sng" algn="ctr">
                <a:noFill/>
                <a:prstDash val="solid"/>
              </a:ln>
              <a:effectLst/>
              <a:sp3d prstMaterial="metal">
                <a:bevelT w="12700" h="381000"/>
                <a:bevelB w="12700" h="381000"/>
              </a:sp3d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</p:grpSp>
        <p:grpSp>
          <p:nvGrpSpPr>
            <p:cNvPr id="48" name="Group 24"/>
            <p:cNvGrpSpPr/>
            <p:nvPr/>
          </p:nvGrpSpPr>
          <p:grpSpPr>
            <a:xfrm>
              <a:off x="1121347" y="597823"/>
              <a:ext cx="1246584" cy="1469908"/>
              <a:chOff x="3200399" y="591377"/>
              <a:chExt cx="2297017" cy="2709802"/>
            </a:xfrm>
            <a:solidFill>
              <a:sysClr val="window" lastClr="FFFFFF"/>
            </a:solidFill>
            <a:effectLst/>
            <a:scene3d>
              <a:camera prst="perspectiveBelow">
                <a:rot lat="600000" lon="0" rev="0"/>
              </a:camera>
              <a:lightRig rig="flat" dir="t"/>
            </a:scene3d>
          </p:grpSpPr>
          <p:sp>
            <p:nvSpPr>
              <p:cNvPr id="52" name="Freeform 51"/>
              <p:cNvSpPr/>
              <p:nvPr/>
            </p:nvSpPr>
            <p:spPr>
              <a:xfrm rot="16200000">
                <a:off x="3585037" y="207384"/>
                <a:ext cx="1527741" cy="2295728"/>
              </a:xfrm>
              <a:custGeom>
                <a:avLst/>
                <a:gdLst>
                  <a:gd name="connsiteX0" fmla="*/ 0 w 2286000"/>
                  <a:gd name="connsiteY0" fmla="*/ 0 h 2286000"/>
                  <a:gd name="connsiteX1" fmla="*/ 1143000 w 2286000"/>
                  <a:gd name="connsiteY1" fmla="*/ 0 h 2286000"/>
                  <a:gd name="connsiteX2" fmla="*/ 2132867 w 2286000"/>
                  <a:gd name="connsiteY2" fmla="*/ 571501 h 2286000"/>
                  <a:gd name="connsiteX3" fmla="*/ 2132865 w 2286000"/>
                  <a:gd name="connsiteY3" fmla="*/ 1714501 h 2286000"/>
                  <a:gd name="connsiteX4" fmla="*/ 1142996 w 2286000"/>
                  <a:gd name="connsiteY4" fmla="*/ 2285999 h 2286000"/>
                  <a:gd name="connsiteX5" fmla="*/ 0 w 2286000"/>
                  <a:gd name="connsiteY5" fmla="*/ 2286000 h 2286000"/>
                  <a:gd name="connsiteX6" fmla="*/ 0 w 2286000"/>
                  <a:gd name="connsiteY6" fmla="*/ 0 h 2286000"/>
                  <a:gd name="connsiteX0" fmla="*/ 399239 w 2337044"/>
                  <a:gd name="connsiteY0" fmla="*/ 0 h 2286000"/>
                  <a:gd name="connsiteX1" fmla="*/ 1143000 w 2337044"/>
                  <a:gd name="connsiteY1" fmla="*/ 0 h 2286000"/>
                  <a:gd name="connsiteX2" fmla="*/ 2132867 w 2337044"/>
                  <a:gd name="connsiteY2" fmla="*/ 571501 h 2286000"/>
                  <a:gd name="connsiteX3" fmla="*/ 2132865 w 2337044"/>
                  <a:gd name="connsiteY3" fmla="*/ 1714501 h 2286000"/>
                  <a:gd name="connsiteX4" fmla="*/ 1142996 w 2337044"/>
                  <a:gd name="connsiteY4" fmla="*/ 2285999 h 2286000"/>
                  <a:gd name="connsiteX5" fmla="*/ 0 w 2337044"/>
                  <a:gd name="connsiteY5" fmla="*/ 2286000 h 2286000"/>
                  <a:gd name="connsiteX6" fmla="*/ 399239 w 2337044"/>
                  <a:gd name="connsiteY6" fmla="*/ 0 h 2286000"/>
                  <a:gd name="connsiteX0" fmla="*/ 0 w 1937805"/>
                  <a:gd name="connsiteY0" fmla="*/ 0 h 2295728"/>
                  <a:gd name="connsiteX1" fmla="*/ 743761 w 1937805"/>
                  <a:gd name="connsiteY1" fmla="*/ 0 h 2295728"/>
                  <a:gd name="connsiteX2" fmla="*/ 1733628 w 1937805"/>
                  <a:gd name="connsiteY2" fmla="*/ 571501 h 2295728"/>
                  <a:gd name="connsiteX3" fmla="*/ 1733626 w 1937805"/>
                  <a:gd name="connsiteY3" fmla="*/ 1714501 h 2295728"/>
                  <a:gd name="connsiteX4" fmla="*/ 743757 w 1937805"/>
                  <a:gd name="connsiteY4" fmla="*/ 2285999 h 2295728"/>
                  <a:gd name="connsiteX5" fmla="*/ 0 w 1937805"/>
                  <a:gd name="connsiteY5" fmla="*/ 2295728 h 2295728"/>
                  <a:gd name="connsiteX6" fmla="*/ 0 w 1937805"/>
                  <a:gd name="connsiteY6" fmla="*/ 0 h 2295728"/>
                  <a:gd name="connsiteX0" fmla="*/ 417071 w 1937805"/>
                  <a:gd name="connsiteY0" fmla="*/ 0 h 2295728"/>
                  <a:gd name="connsiteX1" fmla="*/ 743761 w 1937805"/>
                  <a:gd name="connsiteY1" fmla="*/ 0 h 2295728"/>
                  <a:gd name="connsiteX2" fmla="*/ 1733628 w 1937805"/>
                  <a:gd name="connsiteY2" fmla="*/ 571501 h 2295728"/>
                  <a:gd name="connsiteX3" fmla="*/ 1733626 w 1937805"/>
                  <a:gd name="connsiteY3" fmla="*/ 1714501 h 2295728"/>
                  <a:gd name="connsiteX4" fmla="*/ 743757 w 1937805"/>
                  <a:gd name="connsiteY4" fmla="*/ 2285999 h 2295728"/>
                  <a:gd name="connsiteX5" fmla="*/ 0 w 1937805"/>
                  <a:gd name="connsiteY5" fmla="*/ 2295728 h 2295728"/>
                  <a:gd name="connsiteX6" fmla="*/ 417071 w 1937805"/>
                  <a:gd name="connsiteY6" fmla="*/ 0 h 2295728"/>
                  <a:gd name="connsiteX0" fmla="*/ 7007 w 1527741"/>
                  <a:gd name="connsiteY0" fmla="*/ 0 h 2295728"/>
                  <a:gd name="connsiteX1" fmla="*/ 333697 w 1527741"/>
                  <a:gd name="connsiteY1" fmla="*/ 0 h 2295728"/>
                  <a:gd name="connsiteX2" fmla="*/ 1323564 w 1527741"/>
                  <a:gd name="connsiteY2" fmla="*/ 571501 h 2295728"/>
                  <a:gd name="connsiteX3" fmla="*/ 1323562 w 1527741"/>
                  <a:gd name="connsiteY3" fmla="*/ 1714501 h 2295728"/>
                  <a:gd name="connsiteX4" fmla="*/ 333693 w 1527741"/>
                  <a:gd name="connsiteY4" fmla="*/ 2285999 h 2295728"/>
                  <a:gd name="connsiteX5" fmla="*/ 0 w 1527741"/>
                  <a:gd name="connsiteY5" fmla="*/ 2295728 h 2295728"/>
                  <a:gd name="connsiteX6" fmla="*/ 7007 w 1527741"/>
                  <a:gd name="connsiteY6" fmla="*/ 0 h 2295728"/>
                  <a:gd name="connsiteX0" fmla="*/ 2336 w 1529717"/>
                  <a:gd name="connsiteY0" fmla="*/ 5316 h 2295728"/>
                  <a:gd name="connsiteX1" fmla="*/ 335673 w 1529717"/>
                  <a:gd name="connsiteY1" fmla="*/ 0 h 2295728"/>
                  <a:gd name="connsiteX2" fmla="*/ 1325540 w 1529717"/>
                  <a:gd name="connsiteY2" fmla="*/ 571501 h 2295728"/>
                  <a:gd name="connsiteX3" fmla="*/ 1325538 w 1529717"/>
                  <a:gd name="connsiteY3" fmla="*/ 1714501 h 2295728"/>
                  <a:gd name="connsiteX4" fmla="*/ 335669 w 1529717"/>
                  <a:gd name="connsiteY4" fmla="*/ 2285999 h 2295728"/>
                  <a:gd name="connsiteX5" fmla="*/ 1976 w 1529717"/>
                  <a:gd name="connsiteY5" fmla="*/ 2295728 h 2295728"/>
                  <a:gd name="connsiteX6" fmla="*/ 2336 w 1529717"/>
                  <a:gd name="connsiteY6" fmla="*/ 5316 h 2295728"/>
                  <a:gd name="connsiteX0" fmla="*/ 3016 w 1527741"/>
                  <a:gd name="connsiteY0" fmla="*/ 0 h 2295728"/>
                  <a:gd name="connsiteX1" fmla="*/ 333697 w 1527741"/>
                  <a:gd name="connsiteY1" fmla="*/ 0 h 2295728"/>
                  <a:gd name="connsiteX2" fmla="*/ 1323564 w 1527741"/>
                  <a:gd name="connsiteY2" fmla="*/ 571501 h 2295728"/>
                  <a:gd name="connsiteX3" fmla="*/ 1323562 w 1527741"/>
                  <a:gd name="connsiteY3" fmla="*/ 1714501 h 2295728"/>
                  <a:gd name="connsiteX4" fmla="*/ 333693 w 1527741"/>
                  <a:gd name="connsiteY4" fmla="*/ 2285999 h 2295728"/>
                  <a:gd name="connsiteX5" fmla="*/ 0 w 1527741"/>
                  <a:gd name="connsiteY5" fmla="*/ 2295728 h 2295728"/>
                  <a:gd name="connsiteX6" fmla="*/ 3016 w 1527741"/>
                  <a:gd name="connsiteY6" fmla="*/ 0 h 2295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27741" h="2295728">
                    <a:moveTo>
                      <a:pt x="3016" y="0"/>
                    </a:moveTo>
                    <a:lnTo>
                      <a:pt x="333697" y="0"/>
                    </a:lnTo>
                    <a:cubicBezTo>
                      <a:pt x="742052" y="0"/>
                      <a:pt x="1119387" y="217856"/>
                      <a:pt x="1323564" y="571501"/>
                    </a:cubicBezTo>
                    <a:cubicBezTo>
                      <a:pt x="1527741" y="925147"/>
                      <a:pt x="1527740" y="1360856"/>
                      <a:pt x="1323562" y="1714501"/>
                    </a:cubicBezTo>
                    <a:cubicBezTo>
                      <a:pt x="1119384" y="2068146"/>
                      <a:pt x="742048" y="2286000"/>
                      <a:pt x="333693" y="2285999"/>
                    </a:cubicBezTo>
                    <a:lnTo>
                      <a:pt x="0" y="2295728"/>
                    </a:lnTo>
                    <a:cubicBezTo>
                      <a:pt x="2336" y="1530485"/>
                      <a:pt x="680" y="765243"/>
                      <a:pt x="3016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85000"/>
                </a:sysClr>
              </a:solidFill>
              <a:ln w="25400" cap="flat" cmpd="sng" algn="ctr">
                <a:noFill/>
                <a:prstDash val="solid"/>
              </a:ln>
              <a:effectLst/>
              <a:sp3d prstMaterial="metal">
                <a:bevelT w="12700" h="381000"/>
                <a:bevelB w="12700" h="381000"/>
              </a:sp3d>
            </p:spPr>
            <p:txBody>
              <a:bodyPr vert="vert" lIns="91440" tIns="45720" rIns="64008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3" name="Rectangle 52"/>
              <p:cNvSpPr/>
              <p:nvPr/>
            </p:nvSpPr>
            <p:spPr>
              <a:xfrm>
                <a:off x="3200399" y="2081979"/>
                <a:ext cx="2297017" cy="1219200"/>
              </a:xfrm>
              <a:prstGeom prst="rect">
                <a:avLst/>
              </a:prstGeom>
              <a:solidFill>
                <a:srgbClr val="FFC000"/>
              </a:solidFill>
              <a:ln w="25400" cap="flat" cmpd="sng" algn="ctr">
                <a:noFill/>
                <a:prstDash val="solid"/>
              </a:ln>
              <a:effectLst/>
              <a:sp3d prstMaterial="metal">
                <a:bevelT w="12700" h="381000"/>
                <a:bevelB w="12700" h="381000"/>
              </a:sp3d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</p:grpSp>
        <p:sp>
          <p:nvSpPr>
            <p:cNvPr id="40" name="Rectangle 39"/>
            <p:cNvSpPr/>
            <p:nvPr/>
          </p:nvSpPr>
          <p:spPr>
            <a:xfrm>
              <a:off x="1698919" y="2758602"/>
              <a:ext cx="91440" cy="1828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Rectangle 59"/>
            <p:cNvSpPr/>
            <p:nvPr/>
          </p:nvSpPr>
          <p:spPr>
            <a:xfrm>
              <a:off x="1698919" y="2634280"/>
              <a:ext cx="91440" cy="457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ectangle 60"/>
            <p:cNvSpPr/>
            <p:nvPr/>
          </p:nvSpPr>
          <p:spPr>
            <a:xfrm>
              <a:off x="555152" y="1930575"/>
              <a:ext cx="91440" cy="13716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scene3d>
              <a:camera prst="orthographicFront">
                <a:rot lat="0" lon="0" rev="834000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Rectangle 61"/>
            <p:cNvSpPr/>
            <p:nvPr/>
          </p:nvSpPr>
          <p:spPr>
            <a:xfrm>
              <a:off x="2837678" y="1894301"/>
              <a:ext cx="91440" cy="13716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scene3d>
              <a:camera prst="orthographicFront">
                <a:rot lat="0" lon="0" rev="1326000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9" name="Group 24"/>
            <p:cNvGrpSpPr>
              <a:grpSpLocks/>
            </p:cNvGrpSpPr>
            <p:nvPr/>
          </p:nvGrpSpPr>
          <p:grpSpPr>
            <a:xfrm>
              <a:off x="1022090" y="950860"/>
              <a:ext cx="1445099" cy="1703986"/>
              <a:chOff x="3200399" y="591377"/>
              <a:chExt cx="2297017" cy="2709802"/>
            </a:xfrm>
            <a:solidFill>
              <a:sysClr val="window" lastClr="FFFFFF"/>
            </a:solidFill>
            <a:effectLst/>
            <a:scene3d>
              <a:camera prst="perspectiveBelow">
                <a:rot lat="600000" lon="0" rev="0"/>
              </a:camera>
              <a:lightRig rig="flat" dir="t"/>
            </a:scene3d>
          </p:grpSpPr>
          <p:sp>
            <p:nvSpPr>
              <p:cNvPr id="50" name="Freeform 49"/>
              <p:cNvSpPr/>
              <p:nvPr/>
            </p:nvSpPr>
            <p:spPr>
              <a:xfrm rot="16200000">
                <a:off x="3585037" y="207384"/>
                <a:ext cx="1527741" cy="2295728"/>
              </a:xfrm>
              <a:custGeom>
                <a:avLst/>
                <a:gdLst>
                  <a:gd name="connsiteX0" fmla="*/ 0 w 2286000"/>
                  <a:gd name="connsiteY0" fmla="*/ 0 h 2286000"/>
                  <a:gd name="connsiteX1" fmla="*/ 1143000 w 2286000"/>
                  <a:gd name="connsiteY1" fmla="*/ 0 h 2286000"/>
                  <a:gd name="connsiteX2" fmla="*/ 2132867 w 2286000"/>
                  <a:gd name="connsiteY2" fmla="*/ 571501 h 2286000"/>
                  <a:gd name="connsiteX3" fmla="*/ 2132865 w 2286000"/>
                  <a:gd name="connsiteY3" fmla="*/ 1714501 h 2286000"/>
                  <a:gd name="connsiteX4" fmla="*/ 1142996 w 2286000"/>
                  <a:gd name="connsiteY4" fmla="*/ 2285999 h 2286000"/>
                  <a:gd name="connsiteX5" fmla="*/ 0 w 2286000"/>
                  <a:gd name="connsiteY5" fmla="*/ 2286000 h 2286000"/>
                  <a:gd name="connsiteX6" fmla="*/ 0 w 2286000"/>
                  <a:gd name="connsiteY6" fmla="*/ 0 h 2286000"/>
                  <a:gd name="connsiteX0" fmla="*/ 399239 w 2337044"/>
                  <a:gd name="connsiteY0" fmla="*/ 0 h 2286000"/>
                  <a:gd name="connsiteX1" fmla="*/ 1143000 w 2337044"/>
                  <a:gd name="connsiteY1" fmla="*/ 0 h 2286000"/>
                  <a:gd name="connsiteX2" fmla="*/ 2132867 w 2337044"/>
                  <a:gd name="connsiteY2" fmla="*/ 571501 h 2286000"/>
                  <a:gd name="connsiteX3" fmla="*/ 2132865 w 2337044"/>
                  <a:gd name="connsiteY3" fmla="*/ 1714501 h 2286000"/>
                  <a:gd name="connsiteX4" fmla="*/ 1142996 w 2337044"/>
                  <a:gd name="connsiteY4" fmla="*/ 2285999 h 2286000"/>
                  <a:gd name="connsiteX5" fmla="*/ 0 w 2337044"/>
                  <a:gd name="connsiteY5" fmla="*/ 2286000 h 2286000"/>
                  <a:gd name="connsiteX6" fmla="*/ 399239 w 2337044"/>
                  <a:gd name="connsiteY6" fmla="*/ 0 h 2286000"/>
                  <a:gd name="connsiteX0" fmla="*/ 0 w 1937805"/>
                  <a:gd name="connsiteY0" fmla="*/ 0 h 2295728"/>
                  <a:gd name="connsiteX1" fmla="*/ 743761 w 1937805"/>
                  <a:gd name="connsiteY1" fmla="*/ 0 h 2295728"/>
                  <a:gd name="connsiteX2" fmla="*/ 1733628 w 1937805"/>
                  <a:gd name="connsiteY2" fmla="*/ 571501 h 2295728"/>
                  <a:gd name="connsiteX3" fmla="*/ 1733626 w 1937805"/>
                  <a:gd name="connsiteY3" fmla="*/ 1714501 h 2295728"/>
                  <a:gd name="connsiteX4" fmla="*/ 743757 w 1937805"/>
                  <a:gd name="connsiteY4" fmla="*/ 2285999 h 2295728"/>
                  <a:gd name="connsiteX5" fmla="*/ 0 w 1937805"/>
                  <a:gd name="connsiteY5" fmla="*/ 2295728 h 2295728"/>
                  <a:gd name="connsiteX6" fmla="*/ 0 w 1937805"/>
                  <a:gd name="connsiteY6" fmla="*/ 0 h 2295728"/>
                  <a:gd name="connsiteX0" fmla="*/ 417071 w 1937805"/>
                  <a:gd name="connsiteY0" fmla="*/ 0 h 2295728"/>
                  <a:gd name="connsiteX1" fmla="*/ 743761 w 1937805"/>
                  <a:gd name="connsiteY1" fmla="*/ 0 h 2295728"/>
                  <a:gd name="connsiteX2" fmla="*/ 1733628 w 1937805"/>
                  <a:gd name="connsiteY2" fmla="*/ 571501 h 2295728"/>
                  <a:gd name="connsiteX3" fmla="*/ 1733626 w 1937805"/>
                  <a:gd name="connsiteY3" fmla="*/ 1714501 h 2295728"/>
                  <a:gd name="connsiteX4" fmla="*/ 743757 w 1937805"/>
                  <a:gd name="connsiteY4" fmla="*/ 2285999 h 2295728"/>
                  <a:gd name="connsiteX5" fmla="*/ 0 w 1937805"/>
                  <a:gd name="connsiteY5" fmla="*/ 2295728 h 2295728"/>
                  <a:gd name="connsiteX6" fmla="*/ 417071 w 1937805"/>
                  <a:gd name="connsiteY6" fmla="*/ 0 h 2295728"/>
                  <a:gd name="connsiteX0" fmla="*/ 7007 w 1527741"/>
                  <a:gd name="connsiteY0" fmla="*/ 0 h 2295728"/>
                  <a:gd name="connsiteX1" fmla="*/ 333697 w 1527741"/>
                  <a:gd name="connsiteY1" fmla="*/ 0 h 2295728"/>
                  <a:gd name="connsiteX2" fmla="*/ 1323564 w 1527741"/>
                  <a:gd name="connsiteY2" fmla="*/ 571501 h 2295728"/>
                  <a:gd name="connsiteX3" fmla="*/ 1323562 w 1527741"/>
                  <a:gd name="connsiteY3" fmla="*/ 1714501 h 2295728"/>
                  <a:gd name="connsiteX4" fmla="*/ 333693 w 1527741"/>
                  <a:gd name="connsiteY4" fmla="*/ 2285999 h 2295728"/>
                  <a:gd name="connsiteX5" fmla="*/ 0 w 1527741"/>
                  <a:gd name="connsiteY5" fmla="*/ 2295728 h 2295728"/>
                  <a:gd name="connsiteX6" fmla="*/ 7007 w 1527741"/>
                  <a:gd name="connsiteY6" fmla="*/ 0 h 2295728"/>
                  <a:gd name="connsiteX0" fmla="*/ 2336 w 1529717"/>
                  <a:gd name="connsiteY0" fmla="*/ 5316 h 2295728"/>
                  <a:gd name="connsiteX1" fmla="*/ 335673 w 1529717"/>
                  <a:gd name="connsiteY1" fmla="*/ 0 h 2295728"/>
                  <a:gd name="connsiteX2" fmla="*/ 1325540 w 1529717"/>
                  <a:gd name="connsiteY2" fmla="*/ 571501 h 2295728"/>
                  <a:gd name="connsiteX3" fmla="*/ 1325538 w 1529717"/>
                  <a:gd name="connsiteY3" fmla="*/ 1714501 h 2295728"/>
                  <a:gd name="connsiteX4" fmla="*/ 335669 w 1529717"/>
                  <a:gd name="connsiteY4" fmla="*/ 2285999 h 2295728"/>
                  <a:gd name="connsiteX5" fmla="*/ 1976 w 1529717"/>
                  <a:gd name="connsiteY5" fmla="*/ 2295728 h 2295728"/>
                  <a:gd name="connsiteX6" fmla="*/ 2336 w 1529717"/>
                  <a:gd name="connsiteY6" fmla="*/ 5316 h 2295728"/>
                  <a:gd name="connsiteX0" fmla="*/ 3016 w 1527741"/>
                  <a:gd name="connsiteY0" fmla="*/ 0 h 2295728"/>
                  <a:gd name="connsiteX1" fmla="*/ 333697 w 1527741"/>
                  <a:gd name="connsiteY1" fmla="*/ 0 h 2295728"/>
                  <a:gd name="connsiteX2" fmla="*/ 1323564 w 1527741"/>
                  <a:gd name="connsiteY2" fmla="*/ 571501 h 2295728"/>
                  <a:gd name="connsiteX3" fmla="*/ 1323562 w 1527741"/>
                  <a:gd name="connsiteY3" fmla="*/ 1714501 h 2295728"/>
                  <a:gd name="connsiteX4" fmla="*/ 333693 w 1527741"/>
                  <a:gd name="connsiteY4" fmla="*/ 2285999 h 2295728"/>
                  <a:gd name="connsiteX5" fmla="*/ 0 w 1527741"/>
                  <a:gd name="connsiteY5" fmla="*/ 2295728 h 2295728"/>
                  <a:gd name="connsiteX6" fmla="*/ 3016 w 1527741"/>
                  <a:gd name="connsiteY6" fmla="*/ 0 h 2295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27741" h="2295728">
                    <a:moveTo>
                      <a:pt x="3016" y="0"/>
                    </a:moveTo>
                    <a:lnTo>
                      <a:pt x="333697" y="0"/>
                    </a:lnTo>
                    <a:cubicBezTo>
                      <a:pt x="742052" y="0"/>
                      <a:pt x="1119387" y="217856"/>
                      <a:pt x="1323564" y="571501"/>
                    </a:cubicBezTo>
                    <a:cubicBezTo>
                      <a:pt x="1527741" y="925147"/>
                      <a:pt x="1527740" y="1360856"/>
                      <a:pt x="1323562" y="1714501"/>
                    </a:cubicBezTo>
                    <a:cubicBezTo>
                      <a:pt x="1119384" y="2068146"/>
                      <a:pt x="742048" y="2286000"/>
                      <a:pt x="333693" y="2285999"/>
                    </a:cubicBezTo>
                    <a:lnTo>
                      <a:pt x="0" y="2295728"/>
                    </a:lnTo>
                    <a:cubicBezTo>
                      <a:pt x="2336" y="1530485"/>
                      <a:pt x="680" y="765243"/>
                      <a:pt x="3016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85000"/>
                </a:sysClr>
              </a:solidFill>
              <a:ln w="25400" cap="flat" cmpd="sng" algn="ctr">
                <a:noFill/>
                <a:prstDash val="solid"/>
              </a:ln>
              <a:effectLst/>
              <a:sp3d prstMaterial="metal">
                <a:bevelT w="12700" h="381000"/>
                <a:bevelB w="12700" h="381000"/>
              </a:sp3d>
            </p:spPr>
            <p:txBody>
              <a:bodyPr vert="vert" lIns="91440" tIns="45720" rIns="640080" rtlCol="0" anchor="b">
                <a:flatTx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F3F3F"/>
                    </a:solidFill>
                    <a:effectLst/>
                    <a:uLnTx/>
                    <a:uFillTx/>
                    <a:latin typeface="Century" panose="02040604050505020304" pitchFamily="18" charset="0"/>
                    <a:cs typeface="Arial" pitchFamily="34" charset="0"/>
                  </a:rPr>
                  <a:t>Milestone 1</a:t>
                </a:r>
              </a:p>
            </p:txBody>
          </p:sp>
          <p:sp>
            <p:nvSpPr>
              <p:cNvPr id="51" name="Rectangle 50"/>
              <p:cNvSpPr/>
              <p:nvPr/>
            </p:nvSpPr>
            <p:spPr>
              <a:xfrm>
                <a:off x="3200399" y="2081979"/>
                <a:ext cx="2297017" cy="1219200"/>
              </a:xfrm>
              <a:prstGeom prst="rect">
                <a:avLst/>
              </a:prstGeom>
              <a:solidFill>
                <a:srgbClr val="0070C0"/>
              </a:solidFill>
              <a:ln w="25400" cap="flat" cmpd="sng" algn="ctr">
                <a:noFill/>
                <a:prstDash val="solid"/>
              </a:ln>
              <a:effectLst/>
              <a:sp3d prstMaterial="metal">
                <a:bevelT w="12700" h="381000"/>
                <a:bevelB w="12700" h="381000"/>
              </a:sp3d>
            </p:spPr>
            <p:txBody>
              <a:bodyPr rtlCol="0" anchor="ctr">
                <a:flatTx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entury" panose="02040604050505020304" pitchFamily="18" charset="0"/>
                    <a:cs typeface="Arial" pitchFamily="34" charset="0"/>
                  </a:rPr>
                  <a:t>Topic submission</a:t>
                </a:r>
              </a:p>
            </p:txBody>
          </p:sp>
        </p:grpSp>
      </p:grpSp>
      <p:sp>
        <p:nvSpPr>
          <p:cNvPr id="64" name="TextBox 63"/>
          <p:cNvSpPr txBox="1"/>
          <p:nvPr/>
        </p:nvSpPr>
        <p:spPr>
          <a:xfrm>
            <a:off x="6217920" y="5302495"/>
            <a:ext cx="579120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latin typeface="Century" panose="02040604050505020304" pitchFamily="18" charset="0"/>
              </a:rPr>
              <a:t>Note:</a:t>
            </a:r>
          </a:p>
          <a:p>
            <a:r>
              <a:rPr lang="en-US" sz="1400" dirty="0" smtClean="0">
                <a:latin typeface="Century" panose="02040604050505020304" pitchFamily="18" charset="0"/>
              </a:rPr>
              <a:t>Topics should be relevant to M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Century" panose="02040604050505020304" pitchFamily="18" charset="0"/>
              </a:rPr>
              <a:t>Ideas for topics can be taken from </a:t>
            </a:r>
            <a:r>
              <a:rPr lang="en-US" sz="1400" dirty="0">
                <a:latin typeface="Century" panose="02040604050505020304" pitchFamily="18" charset="0"/>
              </a:rPr>
              <a:t>MES use </a:t>
            </a:r>
            <a:r>
              <a:rPr lang="en-US" sz="1400" dirty="0" smtClean="0">
                <a:latin typeface="Century" panose="02040604050505020304" pitchFamily="18" charset="0"/>
              </a:rPr>
              <a:t>cases / best pract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Century" panose="02040604050505020304" pitchFamily="18" charset="0"/>
              </a:rPr>
              <a:t>Ideas for topics can </a:t>
            </a:r>
            <a:r>
              <a:rPr lang="en-US" sz="1400" dirty="0" smtClean="0">
                <a:latin typeface="Century" panose="02040604050505020304" pitchFamily="18" charset="0"/>
              </a:rPr>
              <a:t>also be upcoming </a:t>
            </a:r>
            <a:r>
              <a:rPr lang="en-US" sz="1400" dirty="0">
                <a:latin typeface="Century" panose="02040604050505020304" pitchFamily="18" charset="0"/>
              </a:rPr>
              <a:t>or best in class technologies and techniques used in similar </a:t>
            </a:r>
            <a:r>
              <a:rPr lang="en-US" sz="1400" dirty="0" smtClean="0">
                <a:latin typeface="Century" panose="02040604050505020304" pitchFamily="18" charset="0"/>
              </a:rPr>
              <a:t>industries that will be beneficial to MES</a:t>
            </a:r>
          </a:p>
        </p:txBody>
      </p:sp>
      <p:sp>
        <p:nvSpPr>
          <p:cNvPr id="42" name="Rectangle 41"/>
          <p:cNvSpPr/>
          <p:nvPr/>
        </p:nvSpPr>
        <p:spPr>
          <a:xfrm>
            <a:off x="107048" y="2860154"/>
            <a:ext cx="3317561" cy="42280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TextBox 68"/>
          <p:cNvSpPr txBox="1"/>
          <p:nvPr/>
        </p:nvSpPr>
        <p:spPr>
          <a:xfrm>
            <a:off x="0" y="6532772"/>
            <a:ext cx="12192000" cy="30777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400" spc="300" dirty="0" smtClean="0">
                <a:latin typeface="Century" panose="02040604050505020304" pitchFamily="18" charset="0"/>
                <a:ea typeface="Gungsuh" panose="02030600000101010101" pitchFamily="18" charset="-127"/>
                <a:cs typeface="Utsaah" panose="020B0604020202020204" pitchFamily="34" charset="0"/>
              </a:rPr>
              <a:t>One MES-Customer Engagement initiative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7041669" y="1322390"/>
            <a:ext cx="4645151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noAutofit/>
          </a:bodyPr>
          <a:lstStyle/>
          <a:p>
            <a:pPr algn="ctr"/>
            <a:endParaRPr lang="en-US" sz="1600" dirty="0">
              <a:latin typeface="Century" panose="020406040505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0715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1134737" y="352540"/>
            <a:ext cx="9885412" cy="4693187"/>
            <a:chOff x="1134737" y="352540"/>
            <a:chExt cx="9885412" cy="4693187"/>
          </a:xfrm>
        </p:grpSpPr>
        <p:grpSp>
          <p:nvGrpSpPr>
            <p:cNvPr id="28" name="Group 27"/>
            <p:cNvGrpSpPr/>
            <p:nvPr/>
          </p:nvGrpSpPr>
          <p:grpSpPr>
            <a:xfrm>
              <a:off x="1134737" y="352540"/>
              <a:ext cx="9885412" cy="4693187"/>
              <a:chOff x="1090670" y="352540"/>
              <a:chExt cx="9929479" cy="4693187"/>
            </a:xfrm>
          </p:grpSpPr>
          <p:sp>
            <p:nvSpPr>
              <p:cNvPr id="17" name="Rectangle 16"/>
              <p:cNvSpPr/>
              <p:nvPr/>
            </p:nvSpPr>
            <p:spPr>
              <a:xfrm>
                <a:off x="1366091" y="352540"/>
                <a:ext cx="9654057" cy="469318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" name="Explosion 1 8"/>
              <p:cNvSpPr/>
              <p:nvPr/>
            </p:nvSpPr>
            <p:spPr>
              <a:xfrm>
                <a:off x="4373696" y="1938970"/>
                <a:ext cx="2787267" cy="2599981"/>
              </a:xfrm>
              <a:prstGeom prst="irregularSeal1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3200" dirty="0">
                    <a:solidFill>
                      <a:schemeClr val="bg2"/>
                    </a:solidFill>
                  </a:rPr>
                  <a:t>2</a:t>
                </a:r>
                <a:r>
                  <a:rPr lang="en-US" sz="3200" dirty="0" smtClean="0">
                    <a:solidFill>
                      <a:schemeClr val="bg2"/>
                    </a:solidFill>
                  </a:rPr>
                  <a:t> Days</a:t>
                </a:r>
                <a:endParaRPr lang="en-US" sz="1400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>
                <a:off x="1090670" y="678970"/>
                <a:ext cx="8593158" cy="7078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40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" panose="02040604050505020304" pitchFamily="18" charset="0"/>
                    <a:cs typeface="Arial" panose="020B0604020202020204" pitchFamily="34" charset="0"/>
                  </a:rPr>
                  <a:t>MES Whitepaper Challenge 2017</a:t>
                </a:r>
                <a:endParaRPr lang="en-US" sz="4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" panose="02040604050505020304" pitchFamily="18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5" name="Picture 24"/>
              <p:cNvPicPr>
                <a:picLocks noChangeAspect="1"/>
              </p:cNvPicPr>
              <p:nvPr/>
            </p:nvPicPr>
            <p:blipFill rotWithShape="1">
              <a:blip r:embed="rId2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1" r="714" b="7696"/>
              <a:stretch/>
            </p:blipFill>
            <p:spPr>
              <a:xfrm>
                <a:off x="8972324" y="522801"/>
                <a:ext cx="1730447" cy="1365947"/>
              </a:xfrm>
              <a:prstGeom prst="rect">
                <a:avLst/>
              </a:prstGeom>
            </p:spPr>
          </p:pic>
          <p:sp>
            <p:nvSpPr>
              <p:cNvPr id="26" name="TextBox 25"/>
              <p:cNvSpPr txBox="1"/>
              <p:nvPr/>
            </p:nvSpPr>
            <p:spPr>
              <a:xfrm>
                <a:off x="8780086" y="1776177"/>
                <a:ext cx="2240063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i="1" dirty="0" smtClean="0">
                    <a:solidFill>
                      <a:srgbClr val="0070C0"/>
                    </a:solidFill>
                    <a:latin typeface="Century" panose="02040604050505020304" pitchFamily="18" charset="0"/>
                  </a:rPr>
                  <a:t>Time to wear your writer’s cap &amp; pen down your thoughts</a:t>
                </a:r>
                <a:endParaRPr lang="en-US" sz="1100" i="1" dirty="0">
                  <a:solidFill>
                    <a:srgbClr val="0070C0"/>
                  </a:solidFill>
                  <a:latin typeface="Century" panose="02040604050505020304" pitchFamily="18" charset="0"/>
                </a:endParaRPr>
              </a:p>
            </p:txBody>
          </p:sp>
          <p:sp>
            <p:nvSpPr>
              <p:cNvPr id="10" name="TextBox 9"/>
              <p:cNvSpPr txBox="1"/>
              <p:nvPr/>
            </p:nvSpPr>
            <p:spPr>
              <a:xfrm>
                <a:off x="1594055" y="1198876"/>
                <a:ext cx="7282150" cy="98488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b="1" i="1" dirty="0" smtClean="0">
                    <a:solidFill>
                      <a:srgbClr val="FF0000"/>
                    </a:solidFill>
                  </a:rPr>
                  <a:t>A gentle reminder!!!!!!!!!!!  ONLY </a:t>
                </a:r>
                <a:r>
                  <a:rPr lang="en-US" sz="4000" b="1" i="1" dirty="0" smtClean="0">
                    <a:solidFill>
                      <a:schemeClr val="accent1">
                        <a:lumMod val="50000"/>
                      </a:schemeClr>
                    </a:solidFill>
                    <a:sym typeface="Wingdings" panose="05000000000000000000" pitchFamily="2" charset="2"/>
                  </a:rPr>
                  <a:t> </a:t>
                </a:r>
                <a:r>
                  <a:rPr lang="en-US" b="1" i="1" dirty="0" smtClean="0">
                    <a:solidFill>
                      <a:srgbClr val="FF0000"/>
                    </a:solidFill>
                  </a:rPr>
                  <a:t>days to submit the final script...... </a:t>
                </a:r>
              </a:p>
              <a:p>
                <a:pPr algn="ctr"/>
                <a:r>
                  <a:rPr lang="en-US" b="1" i="1" dirty="0" smtClean="0">
                    <a:solidFill>
                      <a:srgbClr val="FF0000"/>
                    </a:solidFill>
                  </a:rPr>
                  <a:t>HURRY up.....</a:t>
                </a:r>
                <a:endParaRPr lang="en-US" b="1" i="1" dirty="0">
                  <a:solidFill>
                    <a:srgbClr val="FF0000"/>
                  </a:solidFill>
                </a:endParaRPr>
              </a:p>
            </p:txBody>
          </p:sp>
          <p:grpSp>
            <p:nvGrpSpPr>
              <p:cNvPr id="22" name="Group 21"/>
              <p:cNvGrpSpPr/>
              <p:nvPr/>
            </p:nvGrpSpPr>
            <p:grpSpPr>
              <a:xfrm>
                <a:off x="1793067" y="2353400"/>
                <a:ext cx="1919617" cy="1557586"/>
                <a:chOff x="1793067" y="2540689"/>
                <a:chExt cx="1919617" cy="1557586"/>
              </a:xfrm>
            </p:grpSpPr>
            <p:pic>
              <p:nvPicPr>
                <p:cNvPr id="19" name="Picture 18"/>
                <p:cNvPicPr>
                  <a:picLocks noChangeAspect="1"/>
                </p:cNvPicPr>
                <p:nvPr/>
              </p:nvPicPr>
              <p:blipFill rotWithShape="1">
                <a:blip r:embed="rId3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12393"/>
                <a:stretch/>
              </p:blipFill>
              <p:spPr>
                <a:xfrm>
                  <a:off x="1793067" y="2540689"/>
                  <a:ext cx="1919617" cy="1557586"/>
                </a:xfrm>
                <a:prstGeom prst="rect">
                  <a:avLst/>
                </a:prstGeom>
              </p:spPr>
            </p:pic>
            <p:sp>
              <p:nvSpPr>
                <p:cNvPr id="21" name="TextBox 20"/>
                <p:cNvSpPr txBox="1"/>
                <p:nvPr/>
              </p:nvSpPr>
              <p:spPr>
                <a:xfrm>
                  <a:off x="2116578" y="3261292"/>
                  <a:ext cx="1231209" cy="738664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/>
                <a:p>
                  <a:pPr algn="ctr"/>
                  <a:r>
                    <a:rPr lang="en-US" sz="2400" b="1" dirty="0" smtClean="0">
                      <a:solidFill>
                        <a:srgbClr val="C00000"/>
                      </a:solidFill>
                    </a:rPr>
                    <a:t>15</a:t>
                  </a:r>
                  <a:r>
                    <a:rPr lang="en-US" sz="2400" b="1" baseline="30000" dirty="0" smtClean="0">
                      <a:solidFill>
                        <a:srgbClr val="C00000"/>
                      </a:solidFill>
                    </a:rPr>
                    <a:t>th</a:t>
                  </a:r>
                  <a:r>
                    <a:rPr lang="en-US" b="1" dirty="0" smtClean="0">
                      <a:solidFill>
                        <a:srgbClr val="C00000"/>
                      </a:solidFill>
                    </a:rPr>
                    <a:t> December</a:t>
                  </a:r>
                  <a:endParaRPr lang="en-US" b="1" dirty="0">
                    <a:solidFill>
                      <a:srgbClr val="C00000"/>
                    </a:solidFill>
                  </a:endParaRPr>
                </a:p>
              </p:txBody>
            </p:sp>
          </p:grpSp>
          <p:sp>
            <p:nvSpPr>
              <p:cNvPr id="23" name="TextBox 22"/>
              <p:cNvSpPr txBox="1"/>
              <p:nvPr/>
            </p:nvSpPr>
            <p:spPr>
              <a:xfrm>
                <a:off x="1978866" y="3914918"/>
                <a:ext cx="1717292" cy="276999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en-US" sz="1200" dirty="0" smtClean="0">
                    <a:solidFill>
                      <a:schemeClr val="accent1">
                        <a:lumMod val="75000"/>
                      </a:schemeClr>
                    </a:solidFill>
                  </a:rPr>
                  <a:t>Last day of submission..</a:t>
                </a:r>
                <a:endParaRPr lang="en-US" sz="1200" dirty="0">
                  <a:solidFill>
                    <a:schemeClr val="accent1">
                      <a:lumMod val="75000"/>
                    </a:schemeClr>
                  </a:solidFill>
                </a:endParaRPr>
              </a:p>
            </p:txBody>
          </p:sp>
          <p:pic>
            <p:nvPicPr>
              <p:cNvPr id="35" name="Picture 34"/>
              <p:cNvPicPr>
                <a:picLocks noChangeAspect="1"/>
              </p:cNvPicPr>
              <p:nvPr/>
            </p:nvPicPr>
            <p:blipFill>
              <a:blip r:embed="rId4">
                <a:clrChange>
                  <a:clrFrom>
                    <a:srgbClr val="FEFEFF"/>
                  </a:clrFrom>
                  <a:clrTo>
                    <a:srgbClr val="FEFE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645705" y="2270263"/>
                <a:ext cx="2394709" cy="2459717"/>
              </a:xfrm>
              <a:prstGeom prst="rect">
                <a:avLst/>
              </a:prstGeom>
            </p:spPr>
          </p:pic>
          <p:sp>
            <p:nvSpPr>
              <p:cNvPr id="36" name="TextBox 35"/>
              <p:cNvSpPr txBox="1"/>
              <p:nvPr/>
            </p:nvSpPr>
            <p:spPr>
              <a:xfrm rot="21371249">
                <a:off x="7857035" y="2914077"/>
                <a:ext cx="1950531" cy="15234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50" b="1" i="1" dirty="0">
                    <a:latin typeface="Century" panose="02040604050505020304" pitchFamily="18" charset="0"/>
                  </a:rPr>
                  <a:t>Note:</a:t>
                </a:r>
              </a:p>
              <a:p>
                <a:r>
                  <a:rPr lang="en-US" sz="1050" i="1" dirty="0" smtClean="0">
                    <a:latin typeface="Century" panose="02040604050505020304" pitchFamily="18" charset="0"/>
                  </a:rPr>
                  <a:t>No action is required for the teams who already have submitted their final drafts,..</a:t>
                </a:r>
              </a:p>
              <a:p>
                <a:endParaRPr lang="en-US" sz="1050" i="1" dirty="0">
                  <a:latin typeface="Century" panose="02040604050505020304" pitchFamily="18" charset="0"/>
                </a:endParaRPr>
              </a:p>
              <a:p>
                <a:r>
                  <a:rPr lang="en-US" sz="1050" i="1" dirty="0" smtClean="0">
                    <a:latin typeface="Century" panose="02040604050505020304" pitchFamily="18" charset="0"/>
                  </a:rPr>
                  <a:t>-- MES Customer Work stream!</a:t>
                </a:r>
                <a:endParaRPr lang="en-US" sz="1050" i="1" dirty="0">
                  <a:latin typeface="Century" panose="02040604050505020304" pitchFamily="18" charset="0"/>
                </a:endParaRPr>
              </a:p>
              <a:p>
                <a:endParaRPr lang="en-US" sz="900" dirty="0"/>
              </a:p>
            </p:txBody>
          </p:sp>
        </p:grpSp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5F3F4"/>
                </a:clrFrom>
                <a:clrTo>
                  <a:srgbClr val="F5F3F4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67909" y="3243955"/>
              <a:ext cx="1524000" cy="15483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9456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/>
          <p:cNvGrpSpPr/>
          <p:nvPr/>
        </p:nvGrpSpPr>
        <p:grpSpPr>
          <a:xfrm>
            <a:off x="1134737" y="352540"/>
            <a:ext cx="9885412" cy="4693187"/>
            <a:chOff x="1090670" y="352540"/>
            <a:chExt cx="9929479" cy="4693187"/>
          </a:xfrm>
        </p:grpSpPr>
        <p:sp>
          <p:nvSpPr>
            <p:cNvPr id="17" name="Rectangle 16"/>
            <p:cNvSpPr/>
            <p:nvPr/>
          </p:nvSpPr>
          <p:spPr>
            <a:xfrm>
              <a:off x="1366091" y="352540"/>
              <a:ext cx="9654057" cy="469318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1090670" y="678970"/>
              <a:ext cx="8593158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" panose="02040604050505020304" pitchFamily="18" charset="0"/>
                  <a:cs typeface="Arial" panose="020B0604020202020204" pitchFamily="34" charset="0"/>
                </a:rPr>
                <a:t>MES Whitepaper Challenge 2017</a:t>
              </a:r>
              <a:endParaRPr lang="en-US" sz="4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" panose="02040604050505020304" pitchFamily="18" charset="0"/>
                <a:cs typeface="Arial" panose="020B0604020202020204" pitchFamily="34" charset="0"/>
              </a:endParaRPr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 rotWithShape="1"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r="714" b="7696"/>
            <a:stretch/>
          </p:blipFill>
          <p:spPr>
            <a:xfrm>
              <a:off x="8972324" y="522801"/>
              <a:ext cx="1730447" cy="1365947"/>
            </a:xfrm>
            <a:prstGeom prst="rect">
              <a:avLst/>
            </a:prstGeom>
          </p:spPr>
        </p:pic>
        <p:sp>
          <p:nvSpPr>
            <p:cNvPr id="26" name="TextBox 25"/>
            <p:cNvSpPr txBox="1"/>
            <p:nvPr/>
          </p:nvSpPr>
          <p:spPr>
            <a:xfrm>
              <a:off x="8780086" y="1776177"/>
              <a:ext cx="224006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i="1" dirty="0" smtClean="0">
                  <a:solidFill>
                    <a:srgbClr val="0070C0"/>
                  </a:solidFill>
                  <a:latin typeface="Century" panose="02040604050505020304" pitchFamily="18" charset="0"/>
                </a:rPr>
                <a:t>Time to wear your writer’s cap &amp; pen down your thoughts</a:t>
              </a:r>
              <a:endParaRPr lang="en-US" sz="1100" i="1" dirty="0">
                <a:solidFill>
                  <a:srgbClr val="0070C0"/>
                </a:solidFill>
                <a:latin typeface="Century" panose="02040604050505020304" pitchFamily="18" charset="0"/>
              </a:endParaRPr>
            </a:p>
          </p:txBody>
        </p:sp>
        <p:pic>
          <p:nvPicPr>
            <p:cNvPr id="35" name="Picture 34"/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EFEFF"/>
                </a:clrFrom>
                <a:clrTo>
                  <a:srgbClr val="FEFE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19922" y="2380433"/>
              <a:ext cx="2394709" cy="2459717"/>
            </a:xfrm>
            <a:prstGeom prst="rect">
              <a:avLst/>
            </a:prstGeom>
          </p:spPr>
        </p:pic>
        <p:sp>
          <p:nvSpPr>
            <p:cNvPr id="36" name="TextBox 35"/>
            <p:cNvSpPr txBox="1"/>
            <p:nvPr/>
          </p:nvSpPr>
          <p:spPr>
            <a:xfrm rot="21371249">
              <a:off x="8731252" y="3024247"/>
              <a:ext cx="1950531" cy="15234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b="1" i="1" dirty="0">
                  <a:latin typeface="Century" panose="02040604050505020304" pitchFamily="18" charset="0"/>
                </a:rPr>
                <a:t>Note:</a:t>
              </a:r>
            </a:p>
            <a:p>
              <a:r>
                <a:rPr lang="en-US" sz="1050" i="1" dirty="0" smtClean="0">
                  <a:latin typeface="Century" panose="02040604050505020304" pitchFamily="18" charset="0"/>
                </a:rPr>
                <a:t>No action is required for the teams who already have submitted their final drafts,..</a:t>
              </a:r>
            </a:p>
            <a:p>
              <a:endParaRPr lang="en-US" sz="1050" i="1" dirty="0">
                <a:latin typeface="Century" panose="02040604050505020304" pitchFamily="18" charset="0"/>
              </a:endParaRPr>
            </a:p>
            <a:p>
              <a:r>
                <a:rPr lang="en-US" sz="1050" i="1" dirty="0" smtClean="0">
                  <a:latin typeface="Century" panose="02040604050505020304" pitchFamily="18" charset="0"/>
                </a:rPr>
                <a:t>-- MES Customer Work stream!</a:t>
              </a:r>
              <a:endParaRPr lang="en-US" sz="1050" i="1" dirty="0">
                <a:latin typeface="Century" panose="02040604050505020304" pitchFamily="18" charset="0"/>
              </a:endParaRPr>
            </a:p>
            <a:p>
              <a:endParaRPr lang="en-US" sz="900" dirty="0"/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1626531" y="1882708"/>
            <a:ext cx="7249832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1" i="1" dirty="0" smtClean="0">
                <a:solidFill>
                  <a:srgbClr val="FF0000"/>
                </a:solidFill>
              </a:rPr>
              <a:t>Time is here.... </a:t>
            </a:r>
            <a:r>
              <a:rPr lang="en-US" b="1" i="1" smtClean="0">
                <a:solidFill>
                  <a:srgbClr val="FF0000"/>
                </a:solidFill>
              </a:rPr>
              <a:t>You</a:t>
            </a:r>
            <a:endParaRPr lang="en-US" b="1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6353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TextBox 88"/>
          <p:cNvSpPr txBox="1"/>
          <p:nvPr/>
        </p:nvSpPr>
        <p:spPr>
          <a:xfrm>
            <a:off x="0" y="6532772"/>
            <a:ext cx="12192000" cy="30777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400" spc="300" dirty="0" smtClean="0">
                <a:latin typeface="Century" panose="02040604050505020304" pitchFamily="18" charset="0"/>
                <a:ea typeface="Gungsuh" panose="02030600000101010101" pitchFamily="18" charset="-127"/>
                <a:cs typeface="Utsaah" panose="020B0604020202020204" pitchFamily="34" charset="0"/>
              </a:rPr>
              <a:t>One MES-Customer Engagement initiative</a:t>
            </a:r>
          </a:p>
        </p:txBody>
      </p:sp>
      <p:grpSp>
        <p:nvGrpSpPr>
          <p:cNvPr id="103" name="Group 102"/>
          <p:cNvGrpSpPr/>
          <p:nvPr/>
        </p:nvGrpSpPr>
        <p:grpSpPr>
          <a:xfrm>
            <a:off x="-62752" y="75715"/>
            <a:ext cx="12254754" cy="6849907"/>
            <a:chOff x="206187" y="-85650"/>
            <a:chExt cx="12192001" cy="6857999"/>
          </a:xfrm>
        </p:grpSpPr>
        <p:grpSp>
          <p:nvGrpSpPr>
            <p:cNvPr id="99" name="Group 98"/>
            <p:cNvGrpSpPr/>
            <p:nvPr/>
          </p:nvGrpSpPr>
          <p:grpSpPr>
            <a:xfrm>
              <a:off x="206187" y="-85650"/>
              <a:ext cx="12192001" cy="6857999"/>
              <a:chOff x="206187" y="-85650"/>
              <a:chExt cx="12192001" cy="6857999"/>
            </a:xfrm>
          </p:grpSpPr>
          <p:sp>
            <p:nvSpPr>
              <p:cNvPr id="98" name="Rectangle 97"/>
              <p:cNvSpPr/>
              <p:nvPr/>
            </p:nvSpPr>
            <p:spPr>
              <a:xfrm>
                <a:off x="206187" y="-85650"/>
                <a:ext cx="12192001" cy="6857999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tIns="182880" rIns="182880" bIns="182880" rtlCol="0" anchor="ctr" anchorCtr="0"/>
              <a:lstStyle/>
              <a:p>
                <a:pPr>
                  <a:spcAft>
                    <a:spcPts val="600"/>
                  </a:spcAft>
                </a:pPr>
                <a:endParaRPr lang="en-US" dirty="0">
                  <a:solidFill>
                    <a:srgbClr val="F7F7F7"/>
                  </a:solidFill>
                </a:endParaRPr>
              </a:p>
            </p:txBody>
          </p:sp>
          <p:sp>
            <p:nvSpPr>
              <p:cNvPr id="87" name="TextBox 86"/>
              <p:cNvSpPr txBox="1"/>
              <p:nvPr/>
            </p:nvSpPr>
            <p:spPr>
              <a:xfrm>
                <a:off x="346591" y="194231"/>
                <a:ext cx="9573310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44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" panose="02040604050505020304" pitchFamily="18" charset="0"/>
                    <a:cs typeface="Arial" panose="020B0604020202020204" pitchFamily="34" charset="0"/>
                  </a:rPr>
                  <a:t>MES Whitepaper Challenge 2017</a:t>
                </a:r>
                <a:endParaRPr lang="en-US" sz="4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" panose="02040604050505020304" pitchFamily="18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90" name="Group 89"/>
              <p:cNvGrpSpPr/>
              <p:nvPr/>
            </p:nvGrpSpPr>
            <p:grpSpPr>
              <a:xfrm>
                <a:off x="9670970" y="93147"/>
                <a:ext cx="2428843" cy="1678130"/>
                <a:chOff x="-61284" y="143688"/>
                <a:chExt cx="2483796" cy="1702359"/>
              </a:xfrm>
            </p:grpSpPr>
            <p:pic>
              <p:nvPicPr>
                <p:cNvPr id="91" name="Picture 90"/>
                <p:cNvPicPr>
                  <a:picLocks noChangeAspect="1"/>
                </p:cNvPicPr>
                <p:nvPr/>
              </p:nvPicPr>
              <p:blipFill rotWithShape="1">
                <a:blip r:embed="rId2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-1" r="714" b="7696"/>
                <a:stretch/>
              </p:blipFill>
              <p:spPr>
                <a:xfrm>
                  <a:off x="179223" y="143688"/>
                  <a:ext cx="1918731" cy="1385669"/>
                </a:xfrm>
                <a:prstGeom prst="rect">
                  <a:avLst/>
                </a:prstGeom>
              </p:spPr>
            </p:pic>
            <p:sp>
              <p:nvSpPr>
                <p:cNvPr id="92" name="TextBox 91"/>
                <p:cNvSpPr txBox="1"/>
                <p:nvPr/>
              </p:nvSpPr>
              <p:spPr>
                <a:xfrm>
                  <a:off x="-61284" y="1415160"/>
                  <a:ext cx="2483796" cy="43088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i="1" dirty="0" smtClean="0">
                      <a:solidFill>
                        <a:srgbClr val="0070C0"/>
                      </a:solidFill>
                      <a:latin typeface="Century" panose="02040604050505020304" pitchFamily="18" charset="0"/>
                    </a:rPr>
                    <a:t>Time to wear your writer’s cap &amp; pen down your thoughts</a:t>
                  </a:r>
                  <a:endParaRPr lang="en-US" sz="1100" i="1" dirty="0">
                    <a:solidFill>
                      <a:srgbClr val="0070C0"/>
                    </a:solidFill>
                    <a:latin typeface="Century" panose="02040604050505020304" pitchFamily="18" charset="0"/>
                  </a:endParaRPr>
                </a:p>
              </p:txBody>
            </p:sp>
          </p:grpSp>
        </p:grpSp>
        <p:pic>
          <p:nvPicPr>
            <p:cNvPr id="100" name="Picture 99"/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EFEFF"/>
                </a:clrFrom>
                <a:clrTo>
                  <a:srgbClr val="FEFEFF">
                    <a:alpha val="0"/>
                  </a:srgbClr>
                </a:clrTo>
              </a:clrChange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83234" y="3760263"/>
              <a:ext cx="2394709" cy="2459717"/>
            </a:xfrm>
            <a:prstGeom prst="rect">
              <a:avLst/>
            </a:prstGeom>
          </p:spPr>
        </p:pic>
      </p:grpSp>
      <p:sp>
        <p:nvSpPr>
          <p:cNvPr id="13" name="Donut 12"/>
          <p:cNvSpPr/>
          <p:nvPr/>
        </p:nvSpPr>
        <p:spPr>
          <a:xfrm>
            <a:off x="2022256" y="4742940"/>
            <a:ext cx="5734822" cy="1789831"/>
          </a:xfrm>
          <a:prstGeom prst="donut">
            <a:avLst>
              <a:gd name="adj" fmla="val 2632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Freeform 16"/>
          <p:cNvSpPr/>
          <p:nvPr/>
        </p:nvSpPr>
        <p:spPr>
          <a:xfrm>
            <a:off x="476250" y="1057275"/>
            <a:ext cx="4552950" cy="4638675"/>
          </a:xfrm>
          <a:custGeom>
            <a:avLst/>
            <a:gdLst>
              <a:gd name="connsiteX0" fmla="*/ 0 w 4552950"/>
              <a:gd name="connsiteY0" fmla="*/ 200025 h 4638675"/>
              <a:gd name="connsiteX1" fmla="*/ 1562100 w 4552950"/>
              <a:gd name="connsiteY1" fmla="*/ 4638675 h 4638675"/>
              <a:gd name="connsiteX2" fmla="*/ 2514600 w 4552950"/>
              <a:gd name="connsiteY2" fmla="*/ 4095750 h 4638675"/>
              <a:gd name="connsiteX3" fmla="*/ 4133850 w 4552950"/>
              <a:gd name="connsiteY3" fmla="*/ 3838575 h 4638675"/>
              <a:gd name="connsiteX4" fmla="*/ 4552950 w 4552950"/>
              <a:gd name="connsiteY4" fmla="*/ 3819525 h 4638675"/>
              <a:gd name="connsiteX5" fmla="*/ 628650 w 4552950"/>
              <a:gd name="connsiteY5" fmla="*/ 0 h 4638675"/>
              <a:gd name="connsiteX6" fmla="*/ 0 w 4552950"/>
              <a:gd name="connsiteY6" fmla="*/ 200025 h 4638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52950" h="4638675">
                <a:moveTo>
                  <a:pt x="0" y="200025"/>
                </a:moveTo>
                <a:lnTo>
                  <a:pt x="1562100" y="4638675"/>
                </a:lnTo>
                <a:lnTo>
                  <a:pt x="2514600" y="4095750"/>
                </a:lnTo>
                <a:lnTo>
                  <a:pt x="4133850" y="3838575"/>
                </a:lnTo>
                <a:lnTo>
                  <a:pt x="4552950" y="3819525"/>
                </a:lnTo>
                <a:lnTo>
                  <a:pt x="628650" y="0"/>
                </a:lnTo>
                <a:lnTo>
                  <a:pt x="0" y="200025"/>
                </a:lnTo>
                <a:close/>
              </a:path>
            </a:pathLst>
          </a:cu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Freeform 17"/>
          <p:cNvSpPr/>
          <p:nvPr/>
        </p:nvSpPr>
        <p:spPr>
          <a:xfrm>
            <a:off x="4894729" y="1210235"/>
            <a:ext cx="4231342" cy="4356847"/>
          </a:xfrm>
          <a:custGeom>
            <a:avLst/>
            <a:gdLst>
              <a:gd name="connsiteX0" fmla="*/ 2832847 w 4231342"/>
              <a:gd name="connsiteY0" fmla="*/ 4356847 h 4356847"/>
              <a:gd name="connsiteX1" fmla="*/ 1398495 w 4231342"/>
              <a:gd name="connsiteY1" fmla="*/ 3765177 h 4356847"/>
              <a:gd name="connsiteX2" fmla="*/ 0 w 4231342"/>
              <a:gd name="connsiteY2" fmla="*/ 3630706 h 4356847"/>
              <a:gd name="connsiteX3" fmla="*/ 3334871 w 4231342"/>
              <a:gd name="connsiteY3" fmla="*/ 0 h 4356847"/>
              <a:gd name="connsiteX4" fmla="*/ 4231342 w 4231342"/>
              <a:gd name="connsiteY4" fmla="*/ 233083 h 4356847"/>
              <a:gd name="connsiteX5" fmla="*/ 2832847 w 4231342"/>
              <a:gd name="connsiteY5" fmla="*/ 4356847 h 4356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31342" h="4356847">
                <a:moveTo>
                  <a:pt x="2832847" y="4356847"/>
                </a:moveTo>
                <a:lnTo>
                  <a:pt x="1398495" y="3765177"/>
                </a:lnTo>
                <a:lnTo>
                  <a:pt x="0" y="3630706"/>
                </a:lnTo>
                <a:lnTo>
                  <a:pt x="3334871" y="0"/>
                </a:lnTo>
                <a:lnTo>
                  <a:pt x="4231342" y="233083"/>
                </a:lnTo>
                <a:lnTo>
                  <a:pt x="2832847" y="4356847"/>
                </a:lnTo>
                <a:close/>
              </a:path>
            </a:pathLst>
          </a:cu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98256" l="0" r="9930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5151" y="2290832"/>
            <a:ext cx="5289497" cy="3967123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002490" y="3099274"/>
            <a:ext cx="216927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latin typeface="Comic Sans MS" panose="030F0702030302020204" pitchFamily="66" charset="0"/>
              </a:rPr>
              <a:t>WELCOME</a:t>
            </a:r>
          </a:p>
          <a:p>
            <a:pPr algn="ctr"/>
            <a:endParaRPr lang="en-US" sz="1400" b="1" dirty="0" smtClean="0">
              <a:latin typeface="Comic Sans MS" panose="030F0702030302020204" pitchFamily="66" charset="0"/>
            </a:endParaRPr>
          </a:p>
          <a:p>
            <a:pPr algn="ctr"/>
            <a:endParaRPr lang="en-US" sz="1400" b="1" dirty="0">
              <a:latin typeface="Comic Sans MS" panose="030F0702030302020204" pitchFamily="66" charset="0"/>
            </a:endParaRPr>
          </a:p>
          <a:p>
            <a:pPr algn="ctr"/>
            <a:r>
              <a:rPr lang="en-US" sz="11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omic Sans MS" panose="030F0702030302020204" pitchFamily="66" charset="0"/>
              </a:rPr>
              <a:t>TO THE FINAL STAGE OF THE MES WHITEPAPER CHALLENGE 2017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  <a:latin typeface="Comic Sans MS" panose="030F0702030302020204" pitchFamily="66" charset="0"/>
            </a:endParaRPr>
          </a:p>
        </p:txBody>
      </p:sp>
      <p:sp>
        <p:nvSpPr>
          <p:cNvPr id="109" name="TextBox 108"/>
          <p:cNvSpPr txBox="1"/>
          <p:nvPr/>
        </p:nvSpPr>
        <p:spPr>
          <a:xfrm rot="21371249">
            <a:off x="9880635" y="4260751"/>
            <a:ext cx="1950531" cy="18974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latin typeface="Century" panose="02040604050505020304" pitchFamily="18" charset="0"/>
              </a:rPr>
              <a:t>Note:</a:t>
            </a:r>
          </a:p>
          <a:p>
            <a:r>
              <a:rPr lang="en-US" sz="900" dirty="0">
                <a:latin typeface="Century" panose="02040604050505020304" pitchFamily="18" charset="0"/>
              </a:rPr>
              <a:t>Topics should be relevant to M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900" dirty="0">
                <a:latin typeface="Century" panose="02040604050505020304" pitchFamily="18" charset="0"/>
              </a:rPr>
              <a:t>Ideas for topics can be taken from MES use cases / best pract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900" dirty="0">
                <a:latin typeface="Century" panose="02040604050505020304" pitchFamily="18" charset="0"/>
              </a:rPr>
              <a:t>Ideas for topics can also be upcoming or best in class technologies and techniques used in similar industries that will be beneficial to MES</a:t>
            </a:r>
          </a:p>
          <a:p>
            <a:endParaRPr lang="en-US" sz="900" dirty="0"/>
          </a:p>
        </p:txBody>
      </p:sp>
      <p:sp>
        <p:nvSpPr>
          <p:cNvPr id="11" name="TextBox 10"/>
          <p:cNvSpPr txBox="1"/>
          <p:nvPr/>
        </p:nvSpPr>
        <p:spPr>
          <a:xfrm rot="20092523">
            <a:off x="1198592" y="1474410"/>
            <a:ext cx="323270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chemeClr val="accent2"/>
                </a:solidFill>
                <a:latin typeface="Copperplate Gothic Light" panose="020E0507020206020404" pitchFamily="34" charset="0"/>
              </a:rPr>
              <a:t>PRESENT</a:t>
            </a:r>
          </a:p>
          <a:p>
            <a:r>
              <a:rPr lang="en-US" sz="2800" b="1" dirty="0" smtClean="0">
                <a:solidFill>
                  <a:srgbClr val="FFC000"/>
                </a:solidFill>
                <a:latin typeface="Copperplate Gothic Light" panose="020E0507020206020404" pitchFamily="34" charset="0"/>
              </a:rPr>
              <a:t>YOUR PAPER</a:t>
            </a:r>
          </a:p>
          <a:p>
            <a:r>
              <a:rPr lang="en-US" sz="1600" dirty="0" smtClean="0"/>
              <a:t>MES Whitepaper Challenge 2017</a:t>
            </a:r>
            <a:endParaRPr lang="en-US" sz="1600" dirty="0"/>
          </a:p>
        </p:txBody>
      </p:sp>
      <p:sp>
        <p:nvSpPr>
          <p:cNvPr id="19" name="TextBox 18"/>
          <p:cNvSpPr txBox="1"/>
          <p:nvPr/>
        </p:nvSpPr>
        <p:spPr>
          <a:xfrm>
            <a:off x="4798100" y="1297940"/>
            <a:ext cx="1872051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 smtClean="0">
                <a:solidFill>
                  <a:schemeClr val="accent1"/>
                </a:solidFill>
                <a:latin typeface="Copperplate Gothic Light" panose="020E0507020206020404" pitchFamily="34" charset="0"/>
              </a:rPr>
              <a:t>FRIDAY</a:t>
            </a:r>
          </a:p>
          <a:p>
            <a:r>
              <a:rPr lang="en-US" b="1" dirty="0" smtClean="0"/>
              <a:t>12</a:t>
            </a:r>
            <a:r>
              <a:rPr lang="en-US" b="1" baseline="30000" dirty="0" smtClean="0"/>
              <a:t>th</a:t>
            </a:r>
            <a:r>
              <a:rPr lang="en-US" b="1" dirty="0" smtClean="0"/>
              <a:t> January 2018</a:t>
            </a:r>
          </a:p>
        </p:txBody>
      </p:sp>
    </p:spTree>
    <p:extLst>
      <p:ext uri="{BB962C8B-B14F-4D97-AF65-F5344CB8AC3E}">
        <p14:creationId xmlns:p14="http://schemas.microsoft.com/office/powerpoint/2010/main" val="211120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5108" y="1825625"/>
            <a:ext cx="5801784" cy="4351338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0240" y="3131820"/>
            <a:ext cx="731520" cy="59436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7672" y="3133344"/>
            <a:ext cx="676656" cy="59131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1467" y="0"/>
            <a:ext cx="6249066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0"/>
            <a:ext cx="9144000" cy="6858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4800" y="1687068"/>
            <a:ext cx="3962400" cy="3483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8271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06504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7" name="Group 116"/>
          <p:cNvGrpSpPr/>
          <p:nvPr/>
        </p:nvGrpSpPr>
        <p:grpSpPr>
          <a:xfrm>
            <a:off x="-1" y="0"/>
            <a:ext cx="12253284" cy="9258015"/>
            <a:chOff x="-1" y="0"/>
            <a:chExt cx="12253284" cy="9258015"/>
          </a:xfrm>
        </p:grpSpPr>
        <p:sp>
          <p:nvSpPr>
            <p:cNvPr id="66" name="Rectangle 65"/>
            <p:cNvSpPr/>
            <p:nvPr/>
          </p:nvSpPr>
          <p:spPr>
            <a:xfrm>
              <a:off x="-1" y="0"/>
              <a:ext cx="12192001" cy="6858000"/>
            </a:xfrm>
            <a:prstGeom prst="rect">
              <a:avLst/>
            </a:prstGeom>
            <a:solidFill>
              <a:srgbClr val="F7F7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182880" rIns="182880" bIns="182880" rtlCol="0" anchor="ctr" anchorCtr="0"/>
            <a:lstStyle/>
            <a:p>
              <a:pPr>
                <a:spcAft>
                  <a:spcPts val="600"/>
                </a:spcAft>
              </a:pPr>
              <a:endParaRPr lang="en-US" sz="16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1930652" y="6677"/>
              <a:ext cx="957331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" panose="02040604050505020304" pitchFamily="18" charset="0"/>
                  <a:cs typeface="Arial" panose="020B0604020202020204" pitchFamily="34" charset="0"/>
                </a:rPr>
                <a:t>MES Whitepaper Challenge 2017</a:t>
              </a:r>
              <a:endParaRPr lang="en-US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" panose="020406040505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6462074" y="5838596"/>
              <a:ext cx="5791209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latin typeface="Century" panose="02040604050505020304" pitchFamily="18" charset="0"/>
                </a:rPr>
                <a:t>Note:</a:t>
              </a:r>
            </a:p>
            <a:p>
              <a:r>
                <a:rPr lang="en-US" sz="1200" dirty="0" smtClean="0">
                  <a:latin typeface="Century" panose="02040604050505020304" pitchFamily="18" charset="0"/>
                </a:rPr>
                <a:t>Topics should be relevant to MES: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200" dirty="0" smtClean="0">
                  <a:latin typeface="Century" panose="02040604050505020304" pitchFamily="18" charset="0"/>
                </a:rPr>
                <a:t>Ideas for topics can be taken from </a:t>
              </a:r>
              <a:r>
                <a:rPr lang="en-US" sz="1200" dirty="0">
                  <a:latin typeface="Century" panose="02040604050505020304" pitchFamily="18" charset="0"/>
                </a:rPr>
                <a:t>MES use </a:t>
              </a:r>
              <a:r>
                <a:rPr lang="en-US" sz="1200" dirty="0" smtClean="0">
                  <a:latin typeface="Century" panose="02040604050505020304" pitchFamily="18" charset="0"/>
                </a:rPr>
                <a:t>cases / best practice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200" dirty="0">
                  <a:latin typeface="Century" panose="02040604050505020304" pitchFamily="18" charset="0"/>
                </a:rPr>
                <a:t>Ideas for topics can </a:t>
              </a:r>
              <a:r>
                <a:rPr lang="en-US" sz="1200" dirty="0" smtClean="0">
                  <a:latin typeface="Century" panose="02040604050505020304" pitchFamily="18" charset="0"/>
                </a:rPr>
                <a:t>also be upcoming </a:t>
              </a:r>
              <a:r>
                <a:rPr lang="en-US" sz="1200" dirty="0">
                  <a:latin typeface="Century" panose="02040604050505020304" pitchFamily="18" charset="0"/>
                </a:rPr>
                <a:t>or best in class technologies and techniques used in similar </a:t>
              </a:r>
              <a:r>
                <a:rPr lang="en-US" sz="1200" dirty="0" smtClean="0">
                  <a:latin typeface="Century" panose="02040604050505020304" pitchFamily="18" charset="0"/>
                </a:rPr>
                <a:t>industries that will be beneficial to MES</a:t>
              </a: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0" y="6532772"/>
              <a:ext cx="12192000" cy="307777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r>
                <a:rPr lang="en-US" sz="1400" spc="300" dirty="0" smtClean="0">
                  <a:latin typeface="Century" panose="02040604050505020304" pitchFamily="18" charset="0"/>
                  <a:ea typeface="Gungsuh" panose="02030600000101010101" pitchFamily="18" charset="-127"/>
                  <a:cs typeface="Utsaah" panose="020B0604020202020204" pitchFamily="34" charset="0"/>
                </a:rPr>
                <a:t>One MES-Customer Engagement initiative</a:t>
              </a:r>
            </a:p>
          </p:txBody>
        </p:sp>
        <p:grpSp>
          <p:nvGrpSpPr>
            <p:cNvPr id="79" name="Group 78"/>
            <p:cNvGrpSpPr/>
            <p:nvPr/>
          </p:nvGrpSpPr>
          <p:grpSpPr>
            <a:xfrm>
              <a:off x="4895023" y="2560816"/>
              <a:ext cx="6858945" cy="3420282"/>
              <a:chOff x="1800538" y="656435"/>
              <a:chExt cx="8756025" cy="3420282"/>
            </a:xfrm>
          </p:grpSpPr>
          <p:grpSp>
            <p:nvGrpSpPr>
              <p:cNvPr id="80" name="Group 79"/>
              <p:cNvGrpSpPr/>
              <p:nvPr/>
            </p:nvGrpSpPr>
            <p:grpSpPr>
              <a:xfrm>
                <a:off x="1800539" y="1194111"/>
                <a:ext cx="8756024" cy="2882606"/>
                <a:chOff x="2032947" y="1693983"/>
                <a:chExt cx="8756024" cy="2882606"/>
              </a:xfrm>
            </p:grpSpPr>
            <p:sp>
              <p:nvSpPr>
                <p:cNvPr id="85" name="L-Shape 84"/>
                <p:cNvSpPr/>
                <p:nvPr/>
              </p:nvSpPr>
              <p:spPr>
                <a:xfrm rot="5400000">
                  <a:off x="2437557" y="2953232"/>
                  <a:ext cx="1218747" cy="2027967"/>
                </a:xfrm>
                <a:prstGeom prst="corner">
                  <a:avLst>
                    <a:gd name="adj1" fmla="val 16120"/>
                    <a:gd name="adj2" fmla="val 16110"/>
                  </a:avLst>
                </a:prstGeom>
                <a:solidFill>
                  <a:schemeClr val="accent6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2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2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2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86" name="Freeform 85"/>
                <p:cNvSpPr/>
                <p:nvPr/>
              </p:nvSpPr>
              <p:spPr>
                <a:xfrm>
                  <a:off x="2234118" y="3536298"/>
                  <a:ext cx="1830860" cy="1015708"/>
                </a:xfrm>
                <a:custGeom>
                  <a:avLst/>
                  <a:gdLst>
                    <a:gd name="connsiteX0" fmla="*/ 0 w 1830860"/>
                    <a:gd name="connsiteY0" fmla="*/ 0 h 1604856"/>
                    <a:gd name="connsiteX1" fmla="*/ 1830860 w 1830860"/>
                    <a:gd name="connsiteY1" fmla="*/ 0 h 1604856"/>
                    <a:gd name="connsiteX2" fmla="*/ 1830860 w 1830860"/>
                    <a:gd name="connsiteY2" fmla="*/ 1604856 h 1604856"/>
                    <a:gd name="connsiteX3" fmla="*/ 0 w 1830860"/>
                    <a:gd name="connsiteY3" fmla="*/ 1604856 h 1604856"/>
                    <a:gd name="connsiteX4" fmla="*/ 0 w 1830860"/>
                    <a:gd name="connsiteY4" fmla="*/ 0 h 16048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30860" h="1604856">
                      <a:moveTo>
                        <a:pt x="0" y="0"/>
                      </a:moveTo>
                      <a:lnTo>
                        <a:pt x="1830860" y="0"/>
                      </a:lnTo>
                      <a:lnTo>
                        <a:pt x="1830860" y="1604856"/>
                      </a:lnTo>
                      <a:lnTo>
                        <a:pt x="0" y="160485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</p:spPr>
              <p:style>
                <a:lnRef idx="0">
                  <a:schemeClr val="dk1">
                    <a:alpha val="0"/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76200" tIns="76200" rIns="76200" bIns="76200" numCol="1" spcCol="1270" anchor="ctr" anchorCtr="0">
                  <a:noAutofit/>
                </a:bodyPr>
                <a:lstStyle/>
                <a:p>
                  <a:pPr lvl="0" defTabSz="8890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1200" kern="1200" dirty="0" smtClean="0">
                      <a:latin typeface="Century" panose="02040604050505020304" pitchFamily="18" charset="0"/>
                      <a:cs typeface="Arial" panose="020B0604020202020204" pitchFamily="34" charset="0"/>
                    </a:rPr>
                    <a:t>Form teams of up to 4 associates (individual entries accepted)</a:t>
                  </a:r>
                  <a:endParaRPr lang="en-US" sz="1200" kern="1200" dirty="0">
                    <a:latin typeface="Century" panose="02040604050505020304" pitchFamily="18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7" name="Isosceles Triangle 86"/>
                <p:cNvSpPr/>
                <p:nvPr/>
              </p:nvSpPr>
              <p:spPr>
                <a:xfrm>
                  <a:off x="3719533" y="2803931"/>
                  <a:ext cx="345445" cy="345445"/>
                </a:xfrm>
                <a:prstGeom prst="triangle">
                  <a:avLst>
                    <a:gd name="adj" fmla="val 100000"/>
                  </a:avLst>
                </a:prstGeom>
                <a:solidFill>
                  <a:schemeClr val="accent4"/>
                </a:solidFill>
                <a:ln>
                  <a:solidFill>
                    <a:schemeClr val="accent4"/>
                  </a:solidFill>
                </a:ln>
              </p:spPr>
              <p:style>
                <a:lnRef idx="2">
                  <a:schemeClr val="accent3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3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3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88" name="L-Shape 87"/>
                <p:cNvSpPr/>
                <p:nvPr/>
              </p:nvSpPr>
              <p:spPr>
                <a:xfrm rot="5400000">
                  <a:off x="4678888" y="2398613"/>
                  <a:ext cx="1218747" cy="2027967"/>
                </a:xfrm>
                <a:prstGeom prst="corner">
                  <a:avLst>
                    <a:gd name="adj1" fmla="val 16120"/>
                    <a:gd name="adj2" fmla="val 16110"/>
                  </a:avLst>
                </a:prstGeom>
              </p:spPr>
              <p:style>
                <a:lnRef idx="2">
                  <a:schemeClr val="accent4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89" name="Freeform 88"/>
                <p:cNvSpPr/>
                <p:nvPr/>
              </p:nvSpPr>
              <p:spPr>
                <a:xfrm>
                  <a:off x="4475450" y="3004538"/>
                  <a:ext cx="1830860" cy="1044471"/>
                </a:xfrm>
                <a:custGeom>
                  <a:avLst/>
                  <a:gdLst>
                    <a:gd name="connsiteX0" fmla="*/ 0 w 1830860"/>
                    <a:gd name="connsiteY0" fmla="*/ 0 h 1604856"/>
                    <a:gd name="connsiteX1" fmla="*/ 1830860 w 1830860"/>
                    <a:gd name="connsiteY1" fmla="*/ 0 h 1604856"/>
                    <a:gd name="connsiteX2" fmla="*/ 1830860 w 1830860"/>
                    <a:gd name="connsiteY2" fmla="*/ 1604856 h 1604856"/>
                    <a:gd name="connsiteX3" fmla="*/ 0 w 1830860"/>
                    <a:gd name="connsiteY3" fmla="*/ 1604856 h 1604856"/>
                    <a:gd name="connsiteX4" fmla="*/ 0 w 1830860"/>
                    <a:gd name="connsiteY4" fmla="*/ 0 h 16048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30860" h="1604856">
                      <a:moveTo>
                        <a:pt x="0" y="0"/>
                      </a:moveTo>
                      <a:lnTo>
                        <a:pt x="1830860" y="0"/>
                      </a:lnTo>
                      <a:lnTo>
                        <a:pt x="1830860" y="1604856"/>
                      </a:lnTo>
                      <a:lnTo>
                        <a:pt x="0" y="160485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</p:spPr>
              <p:style>
                <a:lnRef idx="0">
                  <a:schemeClr val="dk1">
                    <a:alpha val="0"/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76200" tIns="76200" rIns="76200" bIns="76200" numCol="1" spcCol="1270" anchor="t" anchorCtr="0">
                  <a:noAutofit/>
                </a:bodyPr>
                <a:lstStyle/>
                <a:p>
                  <a:pPr lvl="0" algn="l" defTabSz="8890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1200" kern="1200" dirty="0" smtClean="0">
                      <a:latin typeface="Century" panose="02040604050505020304" pitchFamily="18" charset="0"/>
                      <a:cs typeface="Arial" panose="020B0604020202020204" pitchFamily="34" charset="0"/>
                    </a:rPr>
                    <a:t>Nominate a primary correspondent (lead)</a:t>
                  </a:r>
                  <a:endParaRPr lang="en-US" sz="1200" kern="1200" dirty="0">
                    <a:latin typeface="Century" panose="02040604050505020304" pitchFamily="18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0" name="Isosceles Triangle 89"/>
                <p:cNvSpPr/>
                <p:nvPr/>
              </p:nvSpPr>
              <p:spPr>
                <a:xfrm>
                  <a:off x="5960864" y="2249311"/>
                  <a:ext cx="345445" cy="345445"/>
                </a:xfrm>
                <a:prstGeom prst="triangle">
                  <a:avLst>
                    <a:gd name="adj" fmla="val 100000"/>
                  </a:avLst>
                </a:prstGeom>
                <a:solidFill>
                  <a:srgbClr val="ED7D31"/>
                </a:solidFill>
                <a:ln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5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5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5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91" name="L-Shape 90"/>
                <p:cNvSpPr/>
                <p:nvPr/>
              </p:nvSpPr>
              <p:spPr>
                <a:xfrm rot="5400000">
                  <a:off x="6920219" y="1843993"/>
                  <a:ext cx="1218747" cy="2027967"/>
                </a:xfrm>
                <a:prstGeom prst="corner">
                  <a:avLst>
                    <a:gd name="adj1" fmla="val 16120"/>
                    <a:gd name="adj2" fmla="val 16110"/>
                  </a:avLst>
                </a:prstGeom>
                <a:solidFill>
                  <a:srgbClr val="ED7D31"/>
                </a:solidFill>
                <a:ln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6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6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6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92" name="Freeform 91"/>
                <p:cNvSpPr/>
                <p:nvPr/>
              </p:nvSpPr>
              <p:spPr>
                <a:xfrm>
                  <a:off x="6716780" y="2449918"/>
                  <a:ext cx="1830860" cy="1017433"/>
                </a:xfrm>
                <a:custGeom>
                  <a:avLst/>
                  <a:gdLst>
                    <a:gd name="connsiteX0" fmla="*/ 0 w 1830860"/>
                    <a:gd name="connsiteY0" fmla="*/ 0 h 1604856"/>
                    <a:gd name="connsiteX1" fmla="*/ 1830860 w 1830860"/>
                    <a:gd name="connsiteY1" fmla="*/ 0 h 1604856"/>
                    <a:gd name="connsiteX2" fmla="*/ 1830860 w 1830860"/>
                    <a:gd name="connsiteY2" fmla="*/ 1604856 h 1604856"/>
                    <a:gd name="connsiteX3" fmla="*/ 0 w 1830860"/>
                    <a:gd name="connsiteY3" fmla="*/ 1604856 h 1604856"/>
                    <a:gd name="connsiteX4" fmla="*/ 0 w 1830860"/>
                    <a:gd name="connsiteY4" fmla="*/ 0 h 16048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30860" h="1604856">
                      <a:moveTo>
                        <a:pt x="0" y="0"/>
                      </a:moveTo>
                      <a:lnTo>
                        <a:pt x="1830860" y="0"/>
                      </a:lnTo>
                      <a:lnTo>
                        <a:pt x="1830860" y="1604856"/>
                      </a:lnTo>
                      <a:lnTo>
                        <a:pt x="0" y="160485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</p:spPr>
              <p:style>
                <a:lnRef idx="0">
                  <a:schemeClr val="dk1">
                    <a:alpha val="0"/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76200" tIns="76200" rIns="76200" bIns="76200" numCol="1" spcCol="1270" anchor="t" anchorCtr="0">
                  <a:noAutofit/>
                </a:bodyPr>
                <a:lstStyle/>
                <a:p>
                  <a:pPr lvl="0" algn="l" defTabSz="8890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1200" kern="1200" dirty="0" smtClean="0">
                      <a:latin typeface="Century" panose="02040604050505020304" pitchFamily="18" charset="0"/>
                      <a:cs typeface="Arial" panose="020B0604020202020204" pitchFamily="34" charset="0"/>
                    </a:rPr>
                    <a:t>Select a topic pertinent to MES</a:t>
                  </a:r>
                  <a:endParaRPr lang="en-US" sz="1200" kern="1200" dirty="0">
                    <a:latin typeface="Century" panose="02040604050505020304" pitchFamily="18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3" name="Isosceles Triangle 92"/>
                <p:cNvSpPr/>
                <p:nvPr/>
              </p:nvSpPr>
              <p:spPr>
                <a:xfrm>
                  <a:off x="8202196" y="1694692"/>
                  <a:ext cx="345445" cy="345445"/>
                </a:xfrm>
                <a:prstGeom prst="triangle">
                  <a:avLst>
                    <a:gd name="adj" fmla="val 100000"/>
                  </a:avLst>
                </a:prstGeom>
                <a:solidFill>
                  <a:schemeClr val="accent5"/>
                </a:solidFill>
                <a:ln>
                  <a:solidFill>
                    <a:schemeClr val="accent5">
                      <a:lumMod val="75000"/>
                    </a:schemeClr>
                  </a:solidFill>
                </a:ln>
              </p:spPr>
              <p:style>
                <a:lnRef idx="2">
                  <a:schemeClr val="accent2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2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2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94" name="L-Shape 93"/>
                <p:cNvSpPr/>
                <p:nvPr/>
              </p:nvSpPr>
              <p:spPr>
                <a:xfrm rot="5400000">
                  <a:off x="9161551" y="1289373"/>
                  <a:ext cx="1218747" cy="2027967"/>
                </a:xfrm>
                <a:prstGeom prst="corner">
                  <a:avLst>
                    <a:gd name="adj1" fmla="val 16120"/>
                    <a:gd name="adj2" fmla="val 16110"/>
                  </a:avLst>
                </a:prstGeom>
                <a:solidFill>
                  <a:schemeClr val="accent5"/>
                </a:solidFill>
                <a:ln>
                  <a:solidFill>
                    <a:schemeClr val="accent5">
                      <a:lumMod val="75000"/>
                    </a:schemeClr>
                  </a:solidFill>
                </a:ln>
              </p:spPr>
              <p:style>
                <a:lnRef idx="2">
                  <a:schemeClr val="accent3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3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3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95" name="Freeform 94"/>
                <p:cNvSpPr/>
                <p:nvPr/>
              </p:nvSpPr>
              <p:spPr>
                <a:xfrm>
                  <a:off x="8958111" y="1895299"/>
                  <a:ext cx="1830860" cy="1017432"/>
                </a:xfrm>
                <a:custGeom>
                  <a:avLst/>
                  <a:gdLst>
                    <a:gd name="connsiteX0" fmla="*/ 0 w 1830860"/>
                    <a:gd name="connsiteY0" fmla="*/ 0 h 1604856"/>
                    <a:gd name="connsiteX1" fmla="*/ 1830860 w 1830860"/>
                    <a:gd name="connsiteY1" fmla="*/ 0 h 1604856"/>
                    <a:gd name="connsiteX2" fmla="*/ 1830860 w 1830860"/>
                    <a:gd name="connsiteY2" fmla="*/ 1604856 h 1604856"/>
                    <a:gd name="connsiteX3" fmla="*/ 0 w 1830860"/>
                    <a:gd name="connsiteY3" fmla="*/ 1604856 h 1604856"/>
                    <a:gd name="connsiteX4" fmla="*/ 0 w 1830860"/>
                    <a:gd name="connsiteY4" fmla="*/ 0 h 16048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30860" h="1604856">
                      <a:moveTo>
                        <a:pt x="0" y="0"/>
                      </a:moveTo>
                      <a:lnTo>
                        <a:pt x="1830860" y="0"/>
                      </a:lnTo>
                      <a:lnTo>
                        <a:pt x="1830860" y="1604856"/>
                      </a:lnTo>
                      <a:lnTo>
                        <a:pt x="0" y="160485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</p:spPr>
              <p:style>
                <a:lnRef idx="0">
                  <a:schemeClr val="dk1">
                    <a:alpha val="0"/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76200" tIns="76200" rIns="76200" bIns="76200" numCol="1" spcCol="1270" anchor="t" anchorCtr="0">
                  <a:noAutofit/>
                </a:bodyPr>
                <a:lstStyle/>
                <a:p>
                  <a:pPr lvl="0" algn="l" defTabSz="8890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1200" kern="1200" dirty="0" smtClean="0">
                      <a:latin typeface="Century" panose="02040604050505020304" pitchFamily="18" charset="0"/>
                      <a:cs typeface="Arial" panose="020B0604020202020204" pitchFamily="34" charset="0"/>
                    </a:rPr>
                    <a:t>Submit your topic by 31</a:t>
                  </a:r>
                  <a:r>
                    <a:rPr lang="en-US" sz="1200" kern="1200" baseline="30000" dirty="0" smtClean="0">
                      <a:latin typeface="Century" panose="02040604050505020304" pitchFamily="18" charset="0"/>
                      <a:cs typeface="Arial" panose="020B0604020202020204" pitchFamily="34" charset="0"/>
                    </a:rPr>
                    <a:t>st</a:t>
                  </a:r>
                  <a:r>
                    <a:rPr lang="en-US" sz="1200" kern="1200" dirty="0" smtClean="0">
                      <a:latin typeface="Century" panose="02040604050505020304" pitchFamily="18" charset="0"/>
                      <a:cs typeface="Arial" panose="020B0604020202020204" pitchFamily="34" charset="0"/>
                    </a:rPr>
                    <a:t> July 2017</a:t>
                  </a:r>
                  <a:endParaRPr lang="en-US" sz="1200" kern="1200" dirty="0">
                    <a:latin typeface="Century" panose="02040604050505020304" pitchFamily="18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81" name="Freeform 80"/>
              <p:cNvSpPr/>
              <p:nvPr/>
            </p:nvSpPr>
            <p:spPr>
              <a:xfrm>
                <a:off x="1800538" y="2305764"/>
                <a:ext cx="1806689" cy="531358"/>
              </a:xfrm>
              <a:custGeom>
                <a:avLst/>
                <a:gdLst>
                  <a:gd name="connsiteX0" fmla="*/ 0 w 1830860"/>
                  <a:gd name="connsiteY0" fmla="*/ 0 h 1604856"/>
                  <a:gd name="connsiteX1" fmla="*/ 1830860 w 1830860"/>
                  <a:gd name="connsiteY1" fmla="*/ 0 h 1604856"/>
                  <a:gd name="connsiteX2" fmla="*/ 1830860 w 1830860"/>
                  <a:gd name="connsiteY2" fmla="*/ 1604856 h 1604856"/>
                  <a:gd name="connsiteX3" fmla="*/ 0 w 1830860"/>
                  <a:gd name="connsiteY3" fmla="*/ 1604856 h 1604856"/>
                  <a:gd name="connsiteX4" fmla="*/ 0 w 1830860"/>
                  <a:gd name="connsiteY4" fmla="*/ 0 h 1604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30860" h="1604856">
                    <a:moveTo>
                      <a:pt x="0" y="0"/>
                    </a:moveTo>
                    <a:lnTo>
                      <a:pt x="1830860" y="0"/>
                    </a:lnTo>
                    <a:lnTo>
                      <a:pt x="1830860" y="1604856"/>
                    </a:lnTo>
                    <a:lnTo>
                      <a:pt x="0" y="1604856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76200" tIns="76200" rIns="76200" bIns="7620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b="1" kern="1200" dirty="0" smtClean="0">
                    <a:latin typeface="Century" panose="02040604050505020304" pitchFamily="18" charset="0"/>
                    <a:cs typeface="Arial" panose="020B0604020202020204" pitchFamily="34" charset="0"/>
                  </a:rPr>
                  <a:t>Step 1</a:t>
                </a:r>
                <a:endParaRPr lang="en-US" b="1" kern="1200" dirty="0">
                  <a:latin typeface="Century" panose="02040604050505020304" pitchFamily="18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2" name="Freeform 81"/>
              <p:cNvSpPr/>
              <p:nvPr/>
            </p:nvSpPr>
            <p:spPr>
              <a:xfrm>
                <a:off x="4054186" y="1768417"/>
                <a:ext cx="1806689" cy="531358"/>
              </a:xfrm>
              <a:custGeom>
                <a:avLst/>
                <a:gdLst>
                  <a:gd name="connsiteX0" fmla="*/ 0 w 1830860"/>
                  <a:gd name="connsiteY0" fmla="*/ 0 h 1604856"/>
                  <a:gd name="connsiteX1" fmla="*/ 1830860 w 1830860"/>
                  <a:gd name="connsiteY1" fmla="*/ 0 h 1604856"/>
                  <a:gd name="connsiteX2" fmla="*/ 1830860 w 1830860"/>
                  <a:gd name="connsiteY2" fmla="*/ 1604856 h 1604856"/>
                  <a:gd name="connsiteX3" fmla="*/ 0 w 1830860"/>
                  <a:gd name="connsiteY3" fmla="*/ 1604856 h 1604856"/>
                  <a:gd name="connsiteX4" fmla="*/ 0 w 1830860"/>
                  <a:gd name="connsiteY4" fmla="*/ 0 h 1604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30860" h="1604856">
                    <a:moveTo>
                      <a:pt x="0" y="0"/>
                    </a:moveTo>
                    <a:lnTo>
                      <a:pt x="1830860" y="0"/>
                    </a:lnTo>
                    <a:lnTo>
                      <a:pt x="1830860" y="1604856"/>
                    </a:lnTo>
                    <a:lnTo>
                      <a:pt x="0" y="1604856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76200" tIns="76200" rIns="76200" bIns="7620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b="1" kern="1200" dirty="0" smtClean="0">
                    <a:latin typeface="Century" panose="02040604050505020304" pitchFamily="18" charset="0"/>
                    <a:cs typeface="Arial" panose="020B0604020202020204" pitchFamily="34" charset="0"/>
                  </a:rPr>
                  <a:t>Step 2</a:t>
                </a:r>
                <a:endParaRPr lang="en-US" b="1" kern="1200" dirty="0">
                  <a:latin typeface="Century" panose="02040604050505020304" pitchFamily="18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3" name="Freeform 82"/>
              <p:cNvSpPr/>
              <p:nvPr/>
            </p:nvSpPr>
            <p:spPr>
              <a:xfrm>
                <a:off x="6283201" y="1210222"/>
                <a:ext cx="1806689" cy="531358"/>
              </a:xfrm>
              <a:custGeom>
                <a:avLst/>
                <a:gdLst>
                  <a:gd name="connsiteX0" fmla="*/ 0 w 1830860"/>
                  <a:gd name="connsiteY0" fmla="*/ 0 h 1604856"/>
                  <a:gd name="connsiteX1" fmla="*/ 1830860 w 1830860"/>
                  <a:gd name="connsiteY1" fmla="*/ 0 h 1604856"/>
                  <a:gd name="connsiteX2" fmla="*/ 1830860 w 1830860"/>
                  <a:gd name="connsiteY2" fmla="*/ 1604856 h 1604856"/>
                  <a:gd name="connsiteX3" fmla="*/ 0 w 1830860"/>
                  <a:gd name="connsiteY3" fmla="*/ 1604856 h 1604856"/>
                  <a:gd name="connsiteX4" fmla="*/ 0 w 1830860"/>
                  <a:gd name="connsiteY4" fmla="*/ 0 h 1604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30860" h="1604856">
                    <a:moveTo>
                      <a:pt x="0" y="0"/>
                    </a:moveTo>
                    <a:lnTo>
                      <a:pt x="1830860" y="0"/>
                    </a:lnTo>
                    <a:lnTo>
                      <a:pt x="1830860" y="1604856"/>
                    </a:lnTo>
                    <a:lnTo>
                      <a:pt x="0" y="1604856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76200" tIns="76200" rIns="76200" bIns="7620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b="1" kern="1200" dirty="0" smtClean="0">
                    <a:latin typeface="Century" panose="02040604050505020304" pitchFamily="18" charset="0"/>
                    <a:cs typeface="Arial" panose="020B0604020202020204" pitchFamily="34" charset="0"/>
                  </a:rPr>
                  <a:t>Step 3</a:t>
                </a:r>
                <a:endParaRPr lang="en-US" b="1" kern="1200" dirty="0">
                  <a:latin typeface="Century" panose="02040604050505020304" pitchFamily="18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4" name="Freeform 83"/>
              <p:cNvSpPr/>
              <p:nvPr/>
            </p:nvSpPr>
            <p:spPr>
              <a:xfrm>
                <a:off x="8524533" y="656435"/>
                <a:ext cx="1806689" cy="531358"/>
              </a:xfrm>
              <a:custGeom>
                <a:avLst/>
                <a:gdLst>
                  <a:gd name="connsiteX0" fmla="*/ 0 w 1830860"/>
                  <a:gd name="connsiteY0" fmla="*/ 0 h 1604856"/>
                  <a:gd name="connsiteX1" fmla="*/ 1830860 w 1830860"/>
                  <a:gd name="connsiteY1" fmla="*/ 0 h 1604856"/>
                  <a:gd name="connsiteX2" fmla="*/ 1830860 w 1830860"/>
                  <a:gd name="connsiteY2" fmla="*/ 1604856 h 1604856"/>
                  <a:gd name="connsiteX3" fmla="*/ 0 w 1830860"/>
                  <a:gd name="connsiteY3" fmla="*/ 1604856 h 1604856"/>
                  <a:gd name="connsiteX4" fmla="*/ 0 w 1830860"/>
                  <a:gd name="connsiteY4" fmla="*/ 0 h 1604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30860" h="1604856">
                    <a:moveTo>
                      <a:pt x="0" y="0"/>
                    </a:moveTo>
                    <a:lnTo>
                      <a:pt x="1830860" y="0"/>
                    </a:lnTo>
                    <a:lnTo>
                      <a:pt x="1830860" y="1604856"/>
                    </a:lnTo>
                    <a:lnTo>
                      <a:pt x="0" y="1604856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76200" tIns="76200" rIns="76200" bIns="7620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b="1" kern="1200" dirty="0" smtClean="0">
                    <a:latin typeface="Century" panose="02040604050505020304" pitchFamily="18" charset="0"/>
                    <a:cs typeface="Arial" panose="020B0604020202020204" pitchFamily="34" charset="0"/>
                  </a:rPr>
                  <a:t>Step 4</a:t>
                </a:r>
                <a:endParaRPr lang="en-US" b="1" kern="1200" dirty="0">
                  <a:latin typeface="Century" panose="02040604050505020304" pitchFamily="18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47225" y="1007764"/>
              <a:ext cx="5753443" cy="1280591"/>
            </a:xfrm>
            <a:prstGeom prst="rect">
              <a:avLst/>
            </a:prstGeom>
          </p:spPr>
        </p:pic>
        <p:grpSp>
          <p:nvGrpSpPr>
            <p:cNvPr id="114" name="Group 113"/>
            <p:cNvGrpSpPr/>
            <p:nvPr/>
          </p:nvGrpSpPr>
          <p:grpSpPr>
            <a:xfrm>
              <a:off x="398900" y="1013416"/>
              <a:ext cx="5013973" cy="8244599"/>
              <a:chOff x="398900" y="1013416"/>
              <a:chExt cx="5013973" cy="8244599"/>
            </a:xfrm>
          </p:grpSpPr>
          <p:grpSp>
            <p:nvGrpSpPr>
              <p:cNvPr id="111" name="Group 110"/>
              <p:cNvGrpSpPr/>
              <p:nvPr/>
            </p:nvGrpSpPr>
            <p:grpSpPr>
              <a:xfrm>
                <a:off x="398900" y="1013416"/>
                <a:ext cx="5013973" cy="8244599"/>
                <a:chOff x="398900" y="1013416"/>
                <a:chExt cx="5013973" cy="8244599"/>
              </a:xfrm>
            </p:grpSpPr>
            <p:grpSp>
              <p:nvGrpSpPr>
                <p:cNvPr id="104" name="Group 103"/>
                <p:cNvGrpSpPr/>
                <p:nvPr/>
              </p:nvGrpSpPr>
              <p:grpSpPr>
                <a:xfrm>
                  <a:off x="398900" y="1013416"/>
                  <a:ext cx="5013973" cy="8244599"/>
                  <a:chOff x="398900" y="1013416"/>
                  <a:chExt cx="5013973" cy="8244599"/>
                </a:xfrm>
              </p:grpSpPr>
              <p:grpSp>
                <p:nvGrpSpPr>
                  <p:cNvPr id="103" name="Group 102"/>
                  <p:cNvGrpSpPr/>
                  <p:nvPr/>
                </p:nvGrpSpPr>
                <p:grpSpPr>
                  <a:xfrm>
                    <a:off x="398900" y="1013416"/>
                    <a:ext cx="5013973" cy="8244599"/>
                    <a:chOff x="231598" y="1036626"/>
                    <a:chExt cx="5013973" cy="8244599"/>
                  </a:xfrm>
                </p:grpSpPr>
                <p:grpSp>
                  <p:nvGrpSpPr>
                    <p:cNvPr id="100" name="Group 99"/>
                    <p:cNvGrpSpPr/>
                    <p:nvPr/>
                  </p:nvGrpSpPr>
                  <p:grpSpPr>
                    <a:xfrm>
                      <a:off x="231598" y="1036626"/>
                      <a:ext cx="5013973" cy="8244599"/>
                      <a:chOff x="231598" y="1036626"/>
                      <a:chExt cx="5013973" cy="8244599"/>
                    </a:xfrm>
                  </p:grpSpPr>
                  <p:grpSp>
                    <p:nvGrpSpPr>
                      <p:cNvPr id="26" name="Group 25"/>
                      <p:cNvGrpSpPr/>
                      <p:nvPr/>
                    </p:nvGrpSpPr>
                    <p:grpSpPr>
                      <a:xfrm>
                        <a:off x="274567" y="1051625"/>
                        <a:ext cx="4507709" cy="8229600"/>
                        <a:chOff x="583894" y="-2379641"/>
                        <a:chExt cx="7646658" cy="13624560"/>
                      </a:xfrm>
                    </p:grpSpPr>
                    <p:sp>
                      <p:nvSpPr>
                        <p:cNvPr id="2" name="Trapezoid 1"/>
                        <p:cNvSpPr/>
                        <p:nvPr/>
                      </p:nvSpPr>
                      <p:spPr>
                        <a:xfrm>
                          <a:off x="3226078" y="-2379641"/>
                          <a:ext cx="3474720" cy="13624560"/>
                        </a:xfrm>
                        <a:prstGeom prst="trapezoid">
                          <a:avLst>
                            <a:gd name="adj" fmla="val 38900"/>
                          </a:avLst>
                        </a:prstGeom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ln>
                        <a:effectLst>
                          <a:innerShdw blurRad="63500" dist="50800" dir="2700000">
                            <a:prstClr val="black">
                              <a:alpha val="50000"/>
                            </a:prstClr>
                          </a:innerShdw>
                        </a:effectLst>
                        <a:scene3d>
                          <a:camera prst="isometricOffAxis2Top"/>
                          <a:lightRig rig="threePt" dir="t"/>
                        </a:scene3d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en-US"/>
                        </a:p>
                      </p:txBody>
                    </p:sp>
                    <p:cxnSp>
                      <p:nvCxnSpPr>
                        <p:cNvPr id="4" name="Straight Connector 3"/>
                        <p:cNvCxnSpPr/>
                        <p:nvPr/>
                      </p:nvCxnSpPr>
                      <p:spPr>
                        <a:xfrm flipV="1">
                          <a:off x="583894" y="2437074"/>
                          <a:ext cx="7261980" cy="3646053"/>
                        </a:xfrm>
                        <a:prstGeom prst="line">
                          <a:avLst/>
                        </a:prstGeom>
                        <a:ln w="28575">
                          <a:solidFill>
                            <a:schemeClr val="bg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58" name="Straight Connector 57"/>
                        <p:cNvCxnSpPr/>
                        <p:nvPr/>
                      </p:nvCxnSpPr>
                      <p:spPr>
                        <a:xfrm flipV="1">
                          <a:off x="3393196" y="2599000"/>
                          <a:ext cx="4837356" cy="3933775"/>
                        </a:xfrm>
                        <a:prstGeom prst="line">
                          <a:avLst/>
                        </a:prstGeom>
                        <a:ln w="28575">
                          <a:solidFill>
                            <a:schemeClr val="bg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59" name="Straight Connector 58"/>
                        <p:cNvCxnSpPr/>
                        <p:nvPr/>
                      </p:nvCxnSpPr>
                      <p:spPr>
                        <a:xfrm flipV="1">
                          <a:off x="1983036" y="2561931"/>
                          <a:ext cx="6029955" cy="3816123"/>
                        </a:xfrm>
                        <a:prstGeom prst="line">
                          <a:avLst/>
                        </a:prstGeom>
                        <a:ln w="19050">
                          <a:solidFill>
                            <a:schemeClr val="bg1"/>
                          </a:solidFill>
                          <a:prstDash val="lgDash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  <p:grpSp>
                    <p:nvGrpSpPr>
                      <p:cNvPr id="68" name="Group 67"/>
                      <p:cNvGrpSpPr/>
                      <p:nvPr/>
                    </p:nvGrpSpPr>
                    <p:grpSpPr>
                      <a:xfrm>
                        <a:off x="1581317" y="2484177"/>
                        <a:ext cx="914400" cy="2993355"/>
                        <a:chOff x="2854179" y="802443"/>
                        <a:chExt cx="1551143" cy="4955666"/>
                      </a:xfrm>
                    </p:grpSpPr>
                    <p:sp>
                      <p:nvSpPr>
                        <p:cNvPr id="70" name="Round Diagonal Corner Rectangle 69"/>
                        <p:cNvSpPr/>
                        <p:nvPr/>
                      </p:nvSpPr>
                      <p:spPr>
                        <a:xfrm>
                          <a:off x="2854179" y="802443"/>
                          <a:ext cx="1551143" cy="2724912"/>
                        </a:xfrm>
                        <a:prstGeom prst="round2DiagRect">
                          <a:avLst>
                            <a:gd name="adj1" fmla="val 38365"/>
                            <a:gd name="adj2" fmla="val 0"/>
                          </a:avLst>
                        </a:prstGeom>
                        <a:solidFill>
                          <a:srgbClr val="FFC000"/>
                        </a:solidFill>
                        <a:ln>
                          <a:solidFill>
                            <a:srgbClr val="FFC000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en-US" sz="900" dirty="0" smtClean="0">
                            <a:latin typeface="Century" panose="02040604050505020304" pitchFamily="18" charset="0"/>
                          </a:endParaRPr>
                        </a:p>
                      </p:txBody>
                    </p:sp>
                    <p:cxnSp>
                      <p:nvCxnSpPr>
                        <p:cNvPr id="71" name="Straight Connector 70"/>
                        <p:cNvCxnSpPr/>
                        <p:nvPr/>
                      </p:nvCxnSpPr>
                      <p:spPr>
                        <a:xfrm flipH="1">
                          <a:off x="2855008" y="2331864"/>
                          <a:ext cx="11018" cy="3426245"/>
                        </a:xfrm>
                        <a:prstGeom prst="line">
                          <a:avLst/>
                        </a:prstGeom>
                        <a:ln w="19050">
                          <a:solidFill>
                            <a:srgbClr val="FFC000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</p:cxnSp>
                  </p:grpSp>
                  <p:sp>
                    <p:nvSpPr>
                      <p:cNvPr id="75" name="Round Diagonal Corner Rectangle 74"/>
                      <p:cNvSpPr/>
                      <p:nvPr/>
                    </p:nvSpPr>
                    <p:spPr>
                      <a:xfrm>
                        <a:off x="2980937" y="1751753"/>
                        <a:ext cx="914400" cy="1645920"/>
                      </a:xfrm>
                      <a:prstGeom prst="round2DiagRect">
                        <a:avLst>
                          <a:gd name="adj1" fmla="val 38365"/>
                          <a:gd name="adj2" fmla="val 0"/>
                        </a:avLst>
                      </a:prstGeom>
                      <a:ln/>
                    </p:spPr>
                    <p:style>
                      <a:lnRef idx="2">
                        <a:schemeClr val="accent2">
                          <a:shade val="50000"/>
                        </a:schemeClr>
                      </a:lnRef>
                      <a:fillRef idx="1">
                        <a:schemeClr val="accent2"/>
                      </a:fillRef>
                      <a:effectRef idx="0">
                        <a:schemeClr val="accent2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US" sz="900" dirty="0" smtClean="0">
                          <a:latin typeface="Century" panose="02040604050505020304" pitchFamily="18" charset="0"/>
                        </a:endParaRPr>
                      </a:p>
                    </p:txBody>
                  </p:sp>
                  <p:cxnSp>
                    <p:nvCxnSpPr>
                      <p:cNvPr id="76" name="Straight Connector 75"/>
                      <p:cNvCxnSpPr/>
                      <p:nvPr/>
                    </p:nvCxnSpPr>
                    <p:spPr>
                      <a:xfrm flipH="1">
                        <a:off x="2992443" y="2675564"/>
                        <a:ext cx="6495" cy="2069544"/>
                      </a:xfrm>
                      <a:prstGeom prst="line">
                        <a:avLst/>
                      </a:prstGeom>
                      <a:ln w="19050">
                        <a:solidFill>
                          <a:schemeClr val="accent2"/>
                        </a:solidFill>
                      </a:ln>
                    </p:spPr>
                    <p:style>
                      <a:lnRef idx="2">
                        <a:schemeClr val="accent2">
                          <a:shade val="50000"/>
                        </a:schemeClr>
                      </a:lnRef>
                      <a:fillRef idx="1">
                        <a:schemeClr val="accent2"/>
                      </a:fillRef>
                      <a:effectRef idx="0">
                        <a:schemeClr val="accent2"/>
                      </a:effectRef>
                      <a:fontRef idx="minor">
                        <a:schemeClr val="lt1"/>
                      </a:fontRef>
                    </p:style>
                  </p:cxnSp>
                  <p:sp>
                    <p:nvSpPr>
                      <p:cNvPr id="77" name="Round Diagonal Corner Rectangle 76"/>
                      <p:cNvSpPr/>
                      <p:nvPr/>
                    </p:nvSpPr>
                    <p:spPr>
                      <a:xfrm>
                        <a:off x="4331171" y="1036626"/>
                        <a:ext cx="914400" cy="1645920"/>
                      </a:xfrm>
                      <a:prstGeom prst="round2DiagRect">
                        <a:avLst>
                          <a:gd name="adj1" fmla="val 38365"/>
                          <a:gd name="adj2" fmla="val 0"/>
                        </a:avLst>
                      </a:prstGeom>
                      <a:solidFill>
                        <a:schemeClr val="accent5"/>
                      </a:solidFill>
                      <a:ln>
                        <a:solidFill>
                          <a:schemeClr val="accent1">
                            <a:lumMod val="50000"/>
                          </a:schemeClr>
                        </a:solidFill>
                      </a:ln>
                    </p:spPr>
                    <p:style>
                      <a:lnRef idx="2">
                        <a:schemeClr val="accent6">
                          <a:shade val="50000"/>
                        </a:schemeClr>
                      </a:lnRef>
                      <a:fillRef idx="1">
                        <a:schemeClr val="accent6"/>
                      </a:fillRef>
                      <a:effectRef idx="0">
                        <a:schemeClr val="accent6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b"/>
                      <a:lstStyle/>
                      <a:p>
                        <a:pPr algn="ctr"/>
                        <a:r>
                          <a:rPr lang="en-US" sz="1200" dirty="0" smtClean="0">
                            <a:latin typeface="Century" panose="02040604050505020304" pitchFamily="18" charset="0"/>
                          </a:rPr>
                          <a:t>Winner</a:t>
                        </a:r>
                        <a:endParaRPr lang="en-US" sz="1200" dirty="0">
                          <a:latin typeface="Century" panose="02040604050505020304" pitchFamily="18" charset="0"/>
                        </a:endParaRPr>
                      </a:p>
                    </p:txBody>
                  </p:sp>
                  <p:cxnSp>
                    <p:nvCxnSpPr>
                      <p:cNvPr id="78" name="Straight Connector 77"/>
                      <p:cNvCxnSpPr/>
                      <p:nvPr/>
                    </p:nvCxnSpPr>
                    <p:spPr>
                      <a:xfrm flipH="1">
                        <a:off x="4342677" y="1960437"/>
                        <a:ext cx="6495" cy="2069544"/>
                      </a:xfrm>
                      <a:prstGeom prst="line">
                        <a:avLst/>
                      </a:prstGeom>
                      <a:ln w="19050">
                        <a:solidFill>
                          <a:schemeClr val="accent1">
                            <a:lumMod val="75000"/>
                          </a:schemeClr>
                        </a:solidFill>
                      </a:ln>
                    </p:spPr>
                    <p:style>
                      <a:lnRef idx="2">
                        <a:schemeClr val="accent6">
                          <a:shade val="50000"/>
                        </a:schemeClr>
                      </a:lnRef>
                      <a:fillRef idx="1">
                        <a:schemeClr val="accent6"/>
                      </a:fillRef>
                      <a:effectRef idx="0">
                        <a:schemeClr val="accent6"/>
                      </a:effectRef>
                      <a:fontRef idx="minor">
                        <a:schemeClr val="lt1"/>
                      </a:fontRef>
                    </p:style>
                  </p:cxnSp>
                  <p:grpSp>
                    <p:nvGrpSpPr>
                      <p:cNvPr id="98" name="Group 97"/>
                      <p:cNvGrpSpPr/>
                      <p:nvPr/>
                    </p:nvGrpSpPr>
                    <p:grpSpPr>
                      <a:xfrm>
                        <a:off x="231598" y="3170009"/>
                        <a:ext cx="984113" cy="2993355"/>
                        <a:chOff x="231598" y="3170009"/>
                        <a:chExt cx="984113" cy="2993355"/>
                      </a:xfrm>
                    </p:grpSpPr>
                    <p:grpSp>
                      <p:nvGrpSpPr>
                        <p:cNvPr id="63" name="Group 62"/>
                        <p:cNvGrpSpPr/>
                        <p:nvPr/>
                      </p:nvGrpSpPr>
                      <p:grpSpPr>
                        <a:xfrm>
                          <a:off x="268681" y="3170009"/>
                          <a:ext cx="914400" cy="2993355"/>
                          <a:chOff x="2301694" y="1092596"/>
                          <a:chExt cx="1551144" cy="4955666"/>
                        </a:xfrm>
                      </p:grpSpPr>
                      <p:sp>
                        <p:nvSpPr>
                          <p:cNvPr id="65" name="Round Diagonal Corner Rectangle 64"/>
                          <p:cNvSpPr/>
                          <p:nvPr/>
                        </p:nvSpPr>
                        <p:spPr>
                          <a:xfrm>
                            <a:off x="2301694" y="1092596"/>
                            <a:ext cx="1551144" cy="2724912"/>
                          </a:xfrm>
                          <a:prstGeom prst="round2DiagRect">
                            <a:avLst>
                              <a:gd name="adj1" fmla="val 38365"/>
                              <a:gd name="adj2" fmla="val 0"/>
                            </a:avLst>
                          </a:prstGeom>
                          <a:ln/>
                        </p:spPr>
                        <p:style>
                          <a:lnRef idx="2">
                            <a:schemeClr val="accent6">
                              <a:shade val="50000"/>
                            </a:schemeClr>
                          </a:lnRef>
                          <a:fillRef idx="1">
                            <a:schemeClr val="accent6"/>
                          </a:fillRef>
                          <a:effectRef idx="0">
                            <a:schemeClr val="accent6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en-US" sz="900" dirty="0" smtClean="0">
                              <a:latin typeface="Century" panose="02040604050505020304" pitchFamily="18" charset="0"/>
                            </a:endParaRPr>
                          </a:p>
                        </p:txBody>
                      </p:sp>
                      <p:cxnSp>
                        <p:nvCxnSpPr>
                          <p:cNvPr id="67" name="Straight Connector 66"/>
                          <p:cNvCxnSpPr/>
                          <p:nvPr/>
                        </p:nvCxnSpPr>
                        <p:spPr>
                          <a:xfrm flipH="1">
                            <a:off x="2321214" y="2622017"/>
                            <a:ext cx="11018" cy="3426245"/>
                          </a:xfrm>
                          <a:prstGeom prst="line">
                            <a:avLst/>
                          </a:prstGeom>
                          <a:ln w="19050">
                            <a:solidFill>
                              <a:schemeClr val="accent6"/>
                            </a:solidFill>
                          </a:ln>
                        </p:spPr>
                        <p:style>
                          <a:lnRef idx="2">
                            <a:schemeClr val="accent6">
                              <a:shade val="50000"/>
                            </a:schemeClr>
                          </a:lnRef>
                          <a:fillRef idx="1">
                            <a:schemeClr val="accent6"/>
                          </a:fillRef>
                          <a:effectRef idx="0">
                            <a:schemeClr val="accent6"/>
                          </a:effectRef>
                          <a:fontRef idx="minor">
                            <a:schemeClr val="lt1"/>
                          </a:fontRef>
                        </p:style>
                      </p:cxnSp>
                    </p:grpSp>
                    <p:sp>
                      <p:nvSpPr>
                        <p:cNvPr id="97" name="TextBox 96"/>
                        <p:cNvSpPr txBox="1"/>
                        <p:nvPr/>
                      </p:nvSpPr>
                      <p:spPr>
                        <a:xfrm>
                          <a:off x="231598" y="3409978"/>
                          <a:ext cx="984113" cy="969496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square" rtlCol="0">
                          <a:spAutoFit/>
                        </a:bodyPr>
                        <a:lstStyle/>
                        <a:p>
                          <a:pPr algn="ctr"/>
                          <a:r>
                            <a:rPr lang="en-US" sz="1200" b="1" dirty="0" smtClean="0">
                              <a:solidFill>
                                <a:schemeClr val="bg1"/>
                              </a:solidFill>
                              <a:latin typeface="Century" panose="02040604050505020304" pitchFamily="18" charset="0"/>
                            </a:rPr>
                            <a:t>Milestone 1</a:t>
                          </a:r>
                        </a:p>
                        <a:p>
                          <a:pPr algn="ctr"/>
                          <a:endParaRPr lang="en-US" sz="1100" dirty="0">
                            <a:solidFill>
                              <a:schemeClr val="bg1"/>
                            </a:solidFill>
                            <a:latin typeface="Century" panose="02040604050505020304" pitchFamily="18" charset="0"/>
                          </a:endParaRPr>
                        </a:p>
                        <a:p>
                          <a:pPr algn="ctr"/>
                          <a:r>
                            <a:rPr lang="en-US" sz="1100" dirty="0" smtClean="0">
                              <a:solidFill>
                                <a:schemeClr val="bg1"/>
                              </a:solidFill>
                              <a:latin typeface="Century" panose="02040604050505020304" pitchFamily="18" charset="0"/>
                            </a:rPr>
                            <a:t>Topic Submission</a:t>
                          </a:r>
                          <a:endParaRPr lang="en-US" sz="1100" dirty="0">
                            <a:solidFill>
                              <a:schemeClr val="bg1"/>
                            </a:solidFill>
                            <a:latin typeface="Century" panose="02040604050505020304" pitchFamily="18" charset="0"/>
                          </a:endParaRPr>
                        </a:p>
                      </p:txBody>
                    </p:sp>
                  </p:grpSp>
                </p:grpSp>
                <p:sp>
                  <p:nvSpPr>
                    <p:cNvPr id="101" name="TextBox 100"/>
                    <p:cNvSpPr txBox="1"/>
                    <p:nvPr/>
                  </p:nvSpPr>
                  <p:spPr>
                    <a:xfrm>
                      <a:off x="1565671" y="2790883"/>
                      <a:ext cx="984113" cy="969496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Century" panose="02040604050505020304" pitchFamily="18" charset="0"/>
                        </a:rPr>
                        <a:t>Milestone 2</a:t>
                      </a:r>
                    </a:p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  <a:latin typeface="Century" panose="02040604050505020304" pitchFamily="18" charset="0"/>
                      </a:endParaRPr>
                    </a:p>
                    <a:p>
                      <a:pPr algn="ctr"/>
                      <a:r>
                        <a:rPr lang="en-US" sz="1100" dirty="0" smtClean="0">
                          <a:solidFill>
                            <a:schemeClr val="bg1"/>
                          </a:solidFill>
                          <a:latin typeface="Century" panose="02040604050505020304" pitchFamily="18" charset="0"/>
                        </a:rPr>
                        <a:t>Wait n Watch....</a:t>
                      </a:r>
                      <a:endParaRPr lang="en-US" sz="1100" dirty="0">
                        <a:solidFill>
                          <a:schemeClr val="bg1"/>
                        </a:solidFill>
                        <a:latin typeface="Century" panose="02040604050505020304" pitchFamily="18" charset="0"/>
                      </a:endParaRPr>
                    </a:p>
                  </p:txBody>
                </p:sp>
                <p:sp>
                  <p:nvSpPr>
                    <p:cNvPr id="102" name="TextBox 101"/>
                    <p:cNvSpPr txBox="1"/>
                    <p:nvPr/>
                  </p:nvSpPr>
                  <p:spPr>
                    <a:xfrm>
                      <a:off x="2966049" y="2052838"/>
                      <a:ext cx="984113" cy="969496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Century" panose="02040604050505020304" pitchFamily="18" charset="0"/>
                        </a:rPr>
                        <a:t>Milestone 3</a:t>
                      </a:r>
                    </a:p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  <a:latin typeface="Century" panose="02040604050505020304" pitchFamily="18" charset="0"/>
                      </a:endParaRPr>
                    </a:p>
                    <a:p>
                      <a:pPr algn="ctr"/>
                      <a:r>
                        <a:rPr lang="en-US" sz="1100" dirty="0" smtClean="0">
                          <a:solidFill>
                            <a:schemeClr val="bg1"/>
                          </a:solidFill>
                          <a:latin typeface="Century" panose="02040604050505020304" pitchFamily="18" charset="0"/>
                        </a:rPr>
                        <a:t>Wait n Watch....</a:t>
                      </a:r>
                      <a:endParaRPr lang="en-US" sz="1100" dirty="0">
                        <a:solidFill>
                          <a:schemeClr val="bg1"/>
                        </a:solidFill>
                        <a:latin typeface="Century" panose="02040604050505020304" pitchFamily="18" charset="0"/>
                      </a:endParaRPr>
                    </a:p>
                  </p:txBody>
                </p:sp>
              </p:grpSp>
              <p:pic>
                <p:nvPicPr>
                  <p:cNvPr id="36" name="Picture 35"/>
                  <p:cNvPicPr>
                    <a:picLocks noChangeAspect="1"/>
                  </p:cNvPicPr>
                  <p:nvPr/>
                </p:nvPicPr>
                <p:blipFill>
                  <a:blip r:embed="rId7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671424" y="1180762"/>
                    <a:ext cx="591471" cy="1005840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10" name="Group 109"/>
                <p:cNvGrpSpPr/>
                <p:nvPr/>
              </p:nvGrpSpPr>
              <p:grpSpPr>
                <a:xfrm>
                  <a:off x="4653244" y="3480263"/>
                  <a:ext cx="366074" cy="527899"/>
                  <a:chOff x="6096000" y="2999124"/>
                  <a:chExt cx="366074" cy="527899"/>
                </a:xfrm>
                <a:scene3d>
                  <a:camera prst="perspectiveContrastingLeftFacing"/>
                  <a:lightRig rig="threePt" dir="t"/>
                </a:scene3d>
              </p:grpSpPr>
              <p:cxnSp>
                <p:nvCxnSpPr>
                  <p:cNvPr id="106" name="Straight Arrow Connector 105"/>
                  <p:cNvCxnSpPr/>
                  <p:nvPr/>
                </p:nvCxnSpPr>
                <p:spPr>
                  <a:xfrm flipV="1">
                    <a:off x="6096000" y="2999124"/>
                    <a:ext cx="0" cy="526274"/>
                  </a:xfrm>
                  <a:prstGeom prst="straightConnector1">
                    <a:avLst/>
                  </a:prstGeom>
                  <a:ln>
                    <a:solidFill>
                      <a:srgbClr val="C00000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7" name="Straight Arrow Connector 106"/>
                  <p:cNvCxnSpPr/>
                  <p:nvPr/>
                </p:nvCxnSpPr>
                <p:spPr>
                  <a:xfrm flipV="1">
                    <a:off x="6462074" y="3000749"/>
                    <a:ext cx="0" cy="526274"/>
                  </a:xfrm>
                  <a:prstGeom prst="straightConnector1">
                    <a:avLst/>
                  </a:prstGeom>
                  <a:ln>
                    <a:solidFill>
                      <a:srgbClr val="C00000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08" name="Wave 107"/>
                  <p:cNvSpPr/>
                  <p:nvPr/>
                </p:nvSpPr>
                <p:spPr>
                  <a:xfrm>
                    <a:off x="6096000" y="3080697"/>
                    <a:ext cx="366074" cy="153009"/>
                  </a:xfrm>
                  <a:prstGeom prst="wave">
                    <a:avLst/>
                  </a:prstGeom>
                  <a:solidFill>
                    <a:srgbClr val="FF000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500" dirty="0" smtClean="0">
                        <a:latin typeface="Andalus" panose="02020603050405020304" pitchFamily="18" charset="-78"/>
                        <a:cs typeface="Andalus" panose="02020603050405020304" pitchFamily="18" charset="-78"/>
                      </a:rPr>
                      <a:t>FINISH</a:t>
                    </a:r>
                    <a:endParaRPr lang="en-US" sz="500" dirty="0">
                      <a:latin typeface="Andalus" panose="02020603050405020304" pitchFamily="18" charset="-78"/>
                      <a:cs typeface="Andalus" panose="02020603050405020304" pitchFamily="18" charset="-78"/>
                    </a:endParaRPr>
                  </a:p>
                </p:txBody>
              </p:sp>
            </p:grpSp>
          </p:grpSp>
          <p:pic>
            <p:nvPicPr>
              <p:cNvPr id="112" name="Picture 111"/>
              <p:cNvPicPr>
                <a:picLocks noChangeAspect="1"/>
              </p:cNvPicPr>
              <p:nvPr/>
            </p:nvPicPr>
            <p:blipFill>
              <a:blip r:embed="rId8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4311054" y="3747018"/>
                <a:ext cx="462559" cy="471379"/>
              </a:xfrm>
              <a:prstGeom prst="rect">
                <a:avLst/>
              </a:prstGeom>
            </p:spPr>
          </p:pic>
        </p:grpSp>
        <p:grpSp>
          <p:nvGrpSpPr>
            <p:cNvPr id="116" name="Group 115"/>
            <p:cNvGrpSpPr/>
            <p:nvPr/>
          </p:nvGrpSpPr>
          <p:grpSpPr>
            <a:xfrm>
              <a:off x="96978" y="144718"/>
              <a:ext cx="2428843" cy="1678130"/>
              <a:chOff x="-61284" y="143688"/>
              <a:chExt cx="2483796" cy="1702359"/>
            </a:xfrm>
          </p:grpSpPr>
          <p:pic>
            <p:nvPicPr>
              <p:cNvPr id="44" name="Picture 43"/>
              <p:cNvPicPr>
                <a:picLocks noChangeAspect="1"/>
              </p:cNvPicPr>
              <p:nvPr/>
            </p:nvPicPr>
            <p:blipFill rotWithShape="1">
              <a:blip r:embed="rId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1" r="714" b="7696"/>
              <a:stretch/>
            </p:blipFill>
            <p:spPr>
              <a:xfrm>
                <a:off x="179223" y="143688"/>
                <a:ext cx="1918731" cy="1385669"/>
              </a:xfrm>
              <a:prstGeom prst="rect">
                <a:avLst/>
              </a:prstGeom>
            </p:spPr>
          </p:pic>
          <p:sp>
            <p:nvSpPr>
              <p:cNvPr id="115" name="TextBox 114"/>
              <p:cNvSpPr txBox="1"/>
              <p:nvPr/>
            </p:nvSpPr>
            <p:spPr>
              <a:xfrm>
                <a:off x="-61284" y="1415160"/>
                <a:ext cx="2483796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i="1" dirty="0" smtClean="0">
                    <a:solidFill>
                      <a:srgbClr val="0070C0"/>
                    </a:solidFill>
                    <a:latin typeface="Century" panose="02040604050505020304" pitchFamily="18" charset="0"/>
                  </a:rPr>
                  <a:t>Time to wear your writer’s cap &amp; pen down your thoughts</a:t>
                </a:r>
                <a:endParaRPr lang="en-US" sz="1100" i="1" dirty="0">
                  <a:solidFill>
                    <a:srgbClr val="0070C0"/>
                  </a:solidFill>
                  <a:latin typeface="Century" panose="02040604050505020304" pitchFamily="18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96040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06504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Rectangle 65"/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 anchorCtr="0"/>
          <a:lstStyle/>
          <a:p>
            <a:pPr>
              <a:spcAft>
                <a:spcPts val="600"/>
              </a:spcAft>
            </a:pPr>
            <a:endParaRPr lang="en-US" sz="1600" kern="0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50793" y="302899"/>
            <a:ext cx="957331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" panose="02040604050505020304" pitchFamily="18" charset="0"/>
                <a:cs typeface="Arial" panose="020B0604020202020204" pitchFamily="34" charset="0"/>
              </a:rPr>
              <a:t>MES Whitepaper Challenge 2017</a:t>
            </a:r>
            <a:endParaRPr lang="en-US" sz="4400" b="1" dirty="0">
              <a:solidFill>
                <a:schemeClr val="tx1">
                  <a:lumMod val="75000"/>
                  <a:lumOff val="25000"/>
                </a:schemeClr>
              </a:solidFill>
              <a:latin typeface="Century" panose="02040604050505020304" pitchFamily="18" charset="0"/>
              <a:cs typeface="Arial" panose="020B0604020202020204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8956748" y="4466263"/>
            <a:ext cx="296148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Century" panose="02040604050505020304" pitchFamily="18" charset="0"/>
              </a:rPr>
              <a:t>Note:</a:t>
            </a:r>
          </a:p>
          <a:p>
            <a:r>
              <a:rPr lang="en-US" sz="1200" dirty="0" smtClean="0">
                <a:latin typeface="Century" panose="02040604050505020304" pitchFamily="18" charset="0"/>
              </a:rPr>
              <a:t>Topics should be relevant to M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Century" panose="02040604050505020304" pitchFamily="18" charset="0"/>
              </a:rPr>
              <a:t>Ideas for topics can be taken from </a:t>
            </a:r>
            <a:r>
              <a:rPr lang="en-US" sz="1200" dirty="0">
                <a:latin typeface="Century" panose="02040604050505020304" pitchFamily="18" charset="0"/>
              </a:rPr>
              <a:t>MES use </a:t>
            </a:r>
            <a:r>
              <a:rPr lang="en-US" sz="1200" dirty="0" smtClean="0">
                <a:latin typeface="Century" panose="02040604050505020304" pitchFamily="18" charset="0"/>
              </a:rPr>
              <a:t>cases / best pract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Century" panose="02040604050505020304" pitchFamily="18" charset="0"/>
              </a:rPr>
              <a:t>Ideas for topics can </a:t>
            </a:r>
            <a:r>
              <a:rPr lang="en-US" sz="1200" dirty="0" smtClean="0">
                <a:latin typeface="Century" panose="02040604050505020304" pitchFamily="18" charset="0"/>
              </a:rPr>
              <a:t>also be upcoming </a:t>
            </a:r>
            <a:r>
              <a:rPr lang="en-US" sz="1200" dirty="0">
                <a:latin typeface="Century" panose="02040604050505020304" pitchFamily="18" charset="0"/>
              </a:rPr>
              <a:t>or best in class technologies and techniques used in similar </a:t>
            </a:r>
            <a:r>
              <a:rPr lang="en-US" sz="1200" dirty="0" smtClean="0">
                <a:latin typeface="Century" panose="02040604050505020304" pitchFamily="18" charset="0"/>
              </a:rPr>
              <a:t>industries that will be beneficial to MES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0" y="6532772"/>
            <a:ext cx="12192000" cy="30777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400" spc="300" dirty="0" smtClean="0">
                <a:latin typeface="Century" panose="02040604050505020304" pitchFamily="18" charset="0"/>
                <a:ea typeface="Gungsuh" panose="02030600000101010101" pitchFamily="18" charset="-127"/>
                <a:cs typeface="Utsaah" panose="020B0604020202020204" pitchFamily="34" charset="0"/>
              </a:rPr>
              <a:t>One MES-Customer Engagement initiative</a:t>
            </a:r>
          </a:p>
        </p:txBody>
      </p:sp>
      <p:grpSp>
        <p:nvGrpSpPr>
          <p:cNvPr id="116" name="Group 115"/>
          <p:cNvGrpSpPr/>
          <p:nvPr/>
        </p:nvGrpSpPr>
        <p:grpSpPr>
          <a:xfrm>
            <a:off x="9670970" y="93147"/>
            <a:ext cx="2428843" cy="1678130"/>
            <a:chOff x="-61284" y="143688"/>
            <a:chExt cx="2483796" cy="1702359"/>
          </a:xfrm>
        </p:grpSpPr>
        <p:pic>
          <p:nvPicPr>
            <p:cNvPr id="44" name="Picture 43"/>
            <p:cNvPicPr>
              <a:picLocks noChangeAspect="1"/>
            </p:cNvPicPr>
            <p:nvPr/>
          </p:nvPicPr>
          <p:blipFill rotWithShape="1"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r="714" b="7696"/>
            <a:stretch/>
          </p:blipFill>
          <p:spPr>
            <a:xfrm>
              <a:off x="179223" y="143688"/>
              <a:ext cx="1918731" cy="1385669"/>
            </a:xfrm>
            <a:prstGeom prst="rect">
              <a:avLst/>
            </a:prstGeom>
          </p:spPr>
        </p:pic>
        <p:sp>
          <p:nvSpPr>
            <p:cNvPr id="115" name="TextBox 114"/>
            <p:cNvSpPr txBox="1"/>
            <p:nvPr/>
          </p:nvSpPr>
          <p:spPr>
            <a:xfrm>
              <a:off x="-61284" y="1415160"/>
              <a:ext cx="2483796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i="1" dirty="0" smtClean="0">
                  <a:solidFill>
                    <a:srgbClr val="0070C0"/>
                  </a:solidFill>
                  <a:latin typeface="Century" panose="02040604050505020304" pitchFamily="18" charset="0"/>
                </a:rPr>
                <a:t>Time to wear your writer’s cap &amp; pen down your thoughts</a:t>
              </a:r>
              <a:endParaRPr lang="en-US" sz="1100" i="1" dirty="0">
                <a:solidFill>
                  <a:srgbClr val="0070C0"/>
                </a:solidFill>
                <a:latin typeface="Century" panose="02040604050505020304" pitchFamily="18" charset="0"/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10032401" y="2164839"/>
            <a:ext cx="1746725" cy="1576441"/>
            <a:chOff x="9821615" y="2324748"/>
            <a:chExt cx="1746725" cy="1576441"/>
          </a:xfrm>
        </p:grpSpPr>
        <p:sp>
          <p:nvSpPr>
            <p:cNvPr id="27" name="Bevel 26"/>
            <p:cNvSpPr/>
            <p:nvPr/>
          </p:nvSpPr>
          <p:spPr>
            <a:xfrm>
              <a:off x="9825835" y="3399518"/>
              <a:ext cx="1742505" cy="501671"/>
            </a:xfrm>
            <a:prstGeom prst="bevel">
              <a:avLst/>
            </a:prstGeom>
            <a:solidFill>
              <a:srgbClr val="0070C0"/>
            </a:soli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Register</a:t>
              </a:r>
              <a:endParaRPr lang="en-US" dirty="0"/>
            </a:p>
          </p:txBody>
        </p:sp>
        <p:pic>
          <p:nvPicPr>
            <p:cNvPr id="29" name="Picture 28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2932"/>
            <a:stretch/>
          </p:blipFill>
          <p:spPr>
            <a:xfrm>
              <a:off x="9821615" y="2403948"/>
              <a:ext cx="875472" cy="981825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/>
          </p:nvSpPr>
          <p:spPr>
            <a:xfrm>
              <a:off x="10608951" y="2324748"/>
              <a:ext cx="871253" cy="10464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b="1" dirty="0" smtClean="0">
                  <a:solidFill>
                    <a:srgbClr val="0070C0"/>
                  </a:solidFill>
                  <a:latin typeface="Monotype Corsiva" panose="03010101010201010101" pitchFamily="66" charset="0"/>
                </a:rPr>
                <a:t>Start...</a:t>
              </a:r>
            </a:p>
            <a:p>
              <a:r>
                <a:rPr lang="en-US" sz="1400" dirty="0" smtClean="0">
                  <a:latin typeface="Century" panose="02040604050505020304" pitchFamily="18" charset="0"/>
                </a:rPr>
                <a:t>Your journey here...</a:t>
              </a:r>
              <a:endParaRPr lang="en-US" sz="1400" dirty="0">
                <a:latin typeface="Century" panose="02040604050505020304" pitchFamily="18" charset="0"/>
              </a:endParaRPr>
            </a:p>
          </p:txBody>
        </p:sp>
        <p:sp>
          <p:nvSpPr>
            <p:cNvPr id="31" name="Down Arrow 30"/>
            <p:cNvSpPr/>
            <p:nvPr/>
          </p:nvSpPr>
          <p:spPr>
            <a:xfrm>
              <a:off x="11220325" y="3134907"/>
              <a:ext cx="161934" cy="194176"/>
            </a:xfrm>
            <a:prstGeom prst="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493985" y="1204991"/>
            <a:ext cx="8521068" cy="8397176"/>
            <a:chOff x="681274" y="1149906"/>
            <a:chExt cx="8521068" cy="8397176"/>
          </a:xfrm>
        </p:grpSpPr>
        <p:grpSp>
          <p:nvGrpSpPr>
            <p:cNvPr id="23" name="Group 22"/>
            <p:cNvGrpSpPr/>
            <p:nvPr/>
          </p:nvGrpSpPr>
          <p:grpSpPr>
            <a:xfrm>
              <a:off x="681274" y="1149906"/>
              <a:ext cx="8521068" cy="8397176"/>
              <a:chOff x="846529" y="1028719"/>
              <a:chExt cx="8521068" cy="8397176"/>
            </a:xfrm>
          </p:grpSpPr>
          <p:sp>
            <p:nvSpPr>
              <p:cNvPr id="3" name="Pentagon 2"/>
              <p:cNvSpPr/>
              <p:nvPr/>
            </p:nvSpPr>
            <p:spPr>
              <a:xfrm flipH="1">
                <a:off x="874940" y="1369104"/>
                <a:ext cx="3028956" cy="774177"/>
              </a:xfrm>
              <a:prstGeom prst="homePlate">
                <a:avLst/>
              </a:prstGeom>
              <a:solidFill>
                <a:srgbClr val="92D050"/>
              </a:solidFill>
              <a:ln>
                <a:solidFill>
                  <a:schemeClr val="accent6"/>
                </a:solidFill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0" name="Group 9"/>
              <p:cNvGrpSpPr/>
              <p:nvPr/>
            </p:nvGrpSpPr>
            <p:grpSpPr>
              <a:xfrm>
                <a:off x="4482803" y="1028719"/>
                <a:ext cx="4778736" cy="8397176"/>
                <a:chOff x="4482803" y="1028719"/>
                <a:chExt cx="4778736" cy="8397176"/>
              </a:xfrm>
            </p:grpSpPr>
            <p:grpSp>
              <p:nvGrpSpPr>
                <p:cNvPr id="114" name="Group 113"/>
                <p:cNvGrpSpPr/>
                <p:nvPr/>
              </p:nvGrpSpPr>
              <p:grpSpPr>
                <a:xfrm>
                  <a:off x="4482803" y="1028719"/>
                  <a:ext cx="4778736" cy="8397176"/>
                  <a:chOff x="419505" y="1028415"/>
                  <a:chExt cx="4679190" cy="8229600"/>
                </a:xfrm>
              </p:grpSpPr>
              <p:grpSp>
                <p:nvGrpSpPr>
                  <p:cNvPr id="111" name="Group 110"/>
                  <p:cNvGrpSpPr/>
                  <p:nvPr/>
                </p:nvGrpSpPr>
                <p:grpSpPr>
                  <a:xfrm>
                    <a:off x="419505" y="1028415"/>
                    <a:ext cx="4679190" cy="8229600"/>
                    <a:chOff x="419505" y="1028415"/>
                    <a:chExt cx="4679190" cy="8229600"/>
                  </a:xfrm>
                </p:grpSpPr>
                <p:grpSp>
                  <p:nvGrpSpPr>
                    <p:cNvPr id="104" name="Group 103"/>
                    <p:cNvGrpSpPr/>
                    <p:nvPr/>
                  </p:nvGrpSpPr>
                  <p:grpSpPr>
                    <a:xfrm>
                      <a:off x="419505" y="1028415"/>
                      <a:ext cx="4679190" cy="8229600"/>
                      <a:chOff x="419505" y="1028415"/>
                      <a:chExt cx="4679190" cy="8229600"/>
                    </a:xfrm>
                  </p:grpSpPr>
                  <p:grpSp>
                    <p:nvGrpSpPr>
                      <p:cNvPr id="103" name="Group 102"/>
                      <p:cNvGrpSpPr/>
                      <p:nvPr/>
                    </p:nvGrpSpPr>
                    <p:grpSpPr>
                      <a:xfrm>
                        <a:off x="419505" y="1028415"/>
                        <a:ext cx="4679190" cy="8229600"/>
                        <a:chOff x="252203" y="1051625"/>
                        <a:chExt cx="4679190" cy="8229600"/>
                      </a:xfrm>
                    </p:grpSpPr>
                    <p:grpSp>
                      <p:nvGrpSpPr>
                        <p:cNvPr id="100" name="Group 99"/>
                        <p:cNvGrpSpPr/>
                        <p:nvPr/>
                      </p:nvGrpSpPr>
                      <p:grpSpPr>
                        <a:xfrm>
                          <a:off x="252203" y="1051625"/>
                          <a:ext cx="4679190" cy="8229600"/>
                          <a:chOff x="252203" y="1051625"/>
                          <a:chExt cx="4679190" cy="8229600"/>
                        </a:xfrm>
                      </p:grpSpPr>
                      <p:grpSp>
                        <p:nvGrpSpPr>
                          <p:cNvPr id="26" name="Group 25"/>
                          <p:cNvGrpSpPr/>
                          <p:nvPr/>
                        </p:nvGrpSpPr>
                        <p:grpSpPr>
                          <a:xfrm>
                            <a:off x="274567" y="1051625"/>
                            <a:ext cx="4507709" cy="8229600"/>
                            <a:chOff x="583894" y="-2379641"/>
                            <a:chExt cx="7646658" cy="13624560"/>
                          </a:xfrm>
                        </p:grpSpPr>
                        <p:sp>
                          <p:nvSpPr>
                            <p:cNvPr id="2" name="Trapezoid 1"/>
                            <p:cNvSpPr/>
                            <p:nvPr/>
                          </p:nvSpPr>
                          <p:spPr>
                            <a:xfrm>
                              <a:off x="3226078" y="-2379641"/>
                              <a:ext cx="3474720" cy="13624560"/>
                            </a:xfrm>
                            <a:prstGeom prst="trapezoid">
                              <a:avLst>
                                <a:gd name="adj" fmla="val 38900"/>
                              </a:avLst>
                            </a:prstGeom>
                            <a:solidFill>
                              <a:schemeClr val="tx1">
                                <a:lumMod val="95000"/>
                                <a:lumOff val="5000"/>
                              </a:schemeClr>
                            </a:solidFill>
                            <a:ln>
                              <a:solidFill>
                                <a:schemeClr val="tx1">
                                  <a:lumMod val="75000"/>
                                  <a:lumOff val="25000"/>
                                </a:schemeClr>
                              </a:solidFill>
                            </a:ln>
                            <a:effectLst>
                              <a:innerShdw blurRad="63500" dist="50800" dir="2700000">
                                <a:prstClr val="black">
                                  <a:alpha val="50000"/>
                                </a:prstClr>
                              </a:innerShdw>
                            </a:effectLst>
                            <a:scene3d>
                              <a:camera prst="isometricOffAxis2Top"/>
                              <a:lightRig rig="threePt" dir="t"/>
                            </a:scene3d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en-US"/>
                            </a:p>
                          </p:txBody>
                        </p:sp>
                        <p:cxnSp>
                          <p:nvCxnSpPr>
                            <p:cNvPr id="4" name="Straight Connector 3"/>
                            <p:cNvCxnSpPr/>
                            <p:nvPr/>
                          </p:nvCxnSpPr>
                          <p:spPr>
                            <a:xfrm flipV="1">
                              <a:off x="583894" y="2437074"/>
                              <a:ext cx="7261980" cy="3646053"/>
                            </a:xfrm>
                            <a:prstGeom prst="line">
                              <a:avLst/>
                            </a:prstGeom>
                            <a:ln w="28575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1">
                              <a:schemeClr val="accent1"/>
                            </a:lnRef>
                            <a:fillRef idx="0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tx1"/>
                            </a:fontRef>
                          </p:style>
                        </p:cxnSp>
                        <p:cxnSp>
                          <p:nvCxnSpPr>
                            <p:cNvPr id="58" name="Straight Connector 57"/>
                            <p:cNvCxnSpPr/>
                            <p:nvPr/>
                          </p:nvCxnSpPr>
                          <p:spPr>
                            <a:xfrm flipV="1">
                              <a:off x="3393196" y="2599000"/>
                              <a:ext cx="4837356" cy="3933775"/>
                            </a:xfrm>
                            <a:prstGeom prst="line">
                              <a:avLst/>
                            </a:prstGeom>
                            <a:ln w="28575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1">
                              <a:schemeClr val="accent1"/>
                            </a:lnRef>
                            <a:fillRef idx="0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tx1"/>
                            </a:fontRef>
                          </p:style>
                        </p:cxnSp>
                        <p:cxnSp>
                          <p:nvCxnSpPr>
                            <p:cNvPr id="59" name="Straight Connector 58"/>
                            <p:cNvCxnSpPr/>
                            <p:nvPr/>
                          </p:nvCxnSpPr>
                          <p:spPr>
                            <a:xfrm flipV="1">
                              <a:off x="1983036" y="2561931"/>
                              <a:ext cx="6029955" cy="3816123"/>
                            </a:xfrm>
                            <a:prstGeom prst="line">
                              <a:avLst/>
                            </a:prstGeom>
                            <a:ln w="19050">
                              <a:solidFill>
                                <a:schemeClr val="bg1"/>
                              </a:solidFill>
                              <a:prstDash val="lgDash"/>
                            </a:ln>
                          </p:spPr>
                          <p:style>
                            <a:lnRef idx="1">
                              <a:schemeClr val="accent1"/>
                            </a:lnRef>
                            <a:fillRef idx="0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tx1"/>
                            </a:fontRef>
                          </p:style>
                        </p:cxnSp>
                      </p:grpSp>
                      <p:grpSp>
                        <p:nvGrpSpPr>
                          <p:cNvPr id="68" name="Group 67"/>
                          <p:cNvGrpSpPr/>
                          <p:nvPr/>
                        </p:nvGrpSpPr>
                        <p:grpSpPr>
                          <a:xfrm>
                            <a:off x="1904979" y="2201882"/>
                            <a:ext cx="895353" cy="3048913"/>
                            <a:chOff x="3403238" y="335090"/>
                            <a:chExt cx="1518833" cy="5047644"/>
                          </a:xfrm>
                        </p:grpSpPr>
                        <p:sp>
                          <p:nvSpPr>
                            <p:cNvPr id="70" name="Round Diagonal Corner Rectangle 69"/>
                            <p:cNvSpPr/>
                            <p:nvPr/>
                          </p:nvSpPr>
                          <p:spPr>
                            <a:xfrm>
                              <a:off x="3403238" y="335090"/>
                              <a:ext cx="1518833" cy="2967261"/>
                            </a:xfrm>
                            <a:prstGeom prst="round2DiagRect">
                              <a:avLst>
                                <a:gd name="adj1" fmla="val 38365"/>
                                <a:gd name="adj2" fmla="val 0"/>
                              </a:avLst>
                            </a:prstGeom>
                            <a:solidFill>
                              <a:srgbClr val="FFC000"/>
                            </a:solidFill>
                            <a:ln>
                              <a:solidFill>
                                <a:srgbClr val="FFC000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en-US" sz="900" dirty="0" smtClean="0">
                                <a:latin typeface="Century" panose="02040604050505020304" pitchFamily="18" charset="0"/>
                              </a:endParaRPr>
                            </a:p>
                          </p:txBody>
                        </p:sp>
                        <p:cxnSp>
                          <p:nvCxnSpPr>
                            <p:cNvPr id="71" name="Straight Connector 70"/>
                            <p:cNvCxnSpPr/>
                            <p:nvPr/>
                          </p:nvCxnSpPr>
                          <p:spPr>
                            <a:xfrm flipH="1">
                              <a:off x="3403979" y="1956487"/>
                              <a:ext cx="11018" cy="3426247"/>
                            </a:xfrm>
                            <a:prstGeom prst="line">
                              <a:avLst/>
                            </a:prstGeom>
                            <a:ln w="19050">
                              <a:solidFill>
                                <a:srgbClr val="FFC000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</p:cxnSp>
                      </p:grpSp>
                      <p:sp>
                        <p:nvSpPr>
                          <p:cNvPr id="75" name="Round Diagonal Corner Rectangle 74"/>
                          <p:cNvSpPr/>
                          <p:nvPr/>
                        </p:nvSpPr>
                        <p:spPr>
                          <a:xfrm>
                            <a:off x="3228082" y="2365171"/>
                            <a:ext cx="716282" cy="1433843"/>
                          </a:xfrm>
                          <a:prstGeom prst="round2DiagRect">
                            <a:avLst>
                              <a:gd name="adj1" fmla="val 38365"/>
                              <a:gd name="adj2" fmla="val 0"/>
                            </a:avLst>
                          </a:prstGeom>
                          <a:ln/>
                        </p:spPr>
                        <p:style>
                          <a:lnRef idx="2">
                            <a:schemeClr val="accent2">
                              <a:shade val="50000"/>
                            </a:schemeClr>
                          </a:lnRef>
                          <a:fillRef idx="1">
                            <a:schemeClr val="accent2"/>
                          </a:fillRef>
                          <a:effectRef idx="0">
                            <a:schemeClr val="accent2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en-US" sz="900" dirty="0" smtClean="0">
                              <a:latin typeface="Century" panose="02040604050505020304" pitchFamily="18" charset="0"/>
                            </a:endParaRPr>
                          </a:p>
                        </p:txBody>
                      </p:sp>
                      <p:sp>
                        <p:nvSpPr>
                          <p:cNvPr id="77" name="Round Diagonal Corner Rectangle 76"/>
                          <p:cNvSpPr/>
                          <p:nvPr/>
                        </p:nvSpPr>
                        <p:spPr>
                          <a:xfrm>
                            <a:off x="4394182" y="2480926"/>
                            <a:ext cx="537211" cy="1075382"/>
                          </a:xfrm>
                          <a:prstGeom prst="round2DiagRect">
                            <a:avLst>
                              <a:gd name="adj1" fmla="val 38365"/>
                              <a:gd name="adj2" fmla="val 0"/>
                            </a:avLst>
                          </a:prstGeom>
                          <a:solidFill>
                            <a:schemeClr val="accent5"/>
                          </a:solidFill>
                          <a:ln>
                            <a:solidFill>
                              <a:schemeClr val="accent1">
                                <a:lumMod val="50000"/>
                              </a:schemeClr>
                            </a:solidFill>
                          </a:ln>
                        </p:spPr>
                        <p:style>
                          <a:lnRef idx="2">
                            <a:schemeClr val="accent6">
                              <a:shade val="50000"/>
                            </a:schemeClr>
                          </a:lnRef>
                          <a:fillRef idx="1">
                            <a:schemeClr val="accent6"/>
                          </a:fillRef>
                          <a:effectRef idx="0">
                            <a:schemeClr val="accent6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b"/>
                          <a:lstStyle/>
                          <a:p>
                            <a:pPr algn="ctr"/>
                            <a:endParaRPr lang="en-US" sz="900" dirty="0">
                              <a:latin typeface="Century" panose="02040604050505020304" pitchFamily="18" charset="0"/>
                            </a:endParaRPr>
                          </a:p>
                        </p:txBody>
                      </p:sp>
                      <p:cxnSp>
                        <p:nvCxnSpPr>
                          <p:cNvPr id="78" name="Straight Connector 77"/>
                          <p:cNvCxnSpPr>
                            <a:stCxn id="77" idx="2"/>
                          </p:cNvCxnSpPr>
                          <p:nvPr/>
                        </p:nvCxnSpPr>
                        <p:spPr>
                          <a:xfrm>
                            <a:off x="4394186" y="3018617"/>
                            <a:ext cx="24003" cy="1194915"/>
                          </a:xfrm>
                          <a:prstGeom prst="line">
                            <a:avLst/>
                          </a:prstGeom>
                          <a:ln w="19050">
                            <a:solidFill>
                              <a:schemeClr val="accent1">
                                <a:lumMod val="75000"/>
                              </a:schemeClr>
                            </a:solidFill>
                          </a:ln>
                        </p:spPr>
                        <p:style>
                          <a:lnRef idx="2">
                            <a:schemeClr val="accent6">
                              <a:shade val="50000"/>
                            </a:schemeClr>
                          </a:lnRef>
                          <a:fillRef idx="1">
                            <a:schemeClr val="accent6"/>
                          </a:fillRef>
                          <a:effectRef idx="0">
                            <a:schemeClr val="accent6"/>
                          </a:effectRef>
                          <a:fontRef idx="minor">
                            <a:schemeClr val="lt1"/>
                          </a:fontRef>
                        </p:style>
                      </p:cxnSp>
                      <p:grpSp>
                        <p:nvGrpSpPr>
                          <p:cNvPr id="98" name="Group 97"/>
                          <p:cNvGrpSpPr/>
                          <p:nvPr/>
                        </p:nvGrpSpPr>
                        <p:grpSpPr>
                          <a:xfrm>
                            <a:off x="252203" y="1941985"/>
                            <a:ext cx="1253493" cy="4221379"/>
                            <a:chOff x="252203" y="1941985"/>
                            <a:chExt cx="1253493" cy="4221379"/>
                          </a:xfrm>
                        </p:grpSpPr>
                        <p:grpSp>
                          <p:nvGrpSpPr>
                            <p:cNvPr id="63" name="Group 62"/>
                            <p:cNvGrpSpPr/>
                            <p:nvPr/>
                          </p:nvGrpSpPr>
                          <p:grpSpPr>
                            <a:xfrm>
                              <a:off x="280187" y="1941985"/>
                              <a:ext cx="1163958" cy="4221379"/>
                              <a:chOff x="2321212" y="-940466"/>
                              <a:chExt cx="1974483" cy="6988728"/>
                            </a:xfrm>
                          </p:grpSpPr>
                          <p:sp>
                            <p:nvSpPr>
                              <p:cNvPr id="65" name="Round Diagonal Corner Rectangle 64"/>
                              <p:cNvSpPr/>
                              <p:nvPr/>
                            </p:nvSpPr>
                            <p:spPr>
                              <a:xfrm>
                                <a:off x="2321212" y="-940466"/>
                                <a:ext cx="1974483" cy="3857432"/>
                              </a:xfrm>
                              <a:prstGeom prst="round2DiagRect">
                                <a:avLst>
                                  <a:gd name="adj1" fmla="val 38365"/>
                                  <a:gd name="adj2" fmla="val 0"/>
                                </a:avLst>
                              </a:prstGeom>
                              <a:ln/>
                            </p:spPr>
                            <p:style>
                              <a:lnRef idx="2">
                                <a:schemeClr val="accent6">
                                  <a:shade val="50000"/>
                                </a:schemeClr>
                              </a:lnRef>
                              <a:fillRef idx="1">
                                <a:schemeClr val="accent6"/>
                              </a:fillRef>
                              <a:effectRef idx="0">
                                <a:schemeClr val="accent6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algn="ctr"/>
                                <a:endParaRPr lang="en-US" sz="900" dirty="0" smtClean="0">
                                  <a:latin typeface="Century" panose="02040604050505020304" pitchFamily="18" charset="0"/>
                                </a:endParaRPr>
                              </a:p>
                            </p:txBody>
                          </p:sp>
                          <p:cxnSp>
                            <p:nvCxnSpPr>
                              <p:cNvPr id="67" name="Straight Connector 66"/>
                              <p:cNvCxnSpPr/>
                              <p:nvPr/>
                            </p:nvCxnSpPr>
                            <p:spPr>
                              <a:xfrm flipH="1">
                                <a:off x="2321214" y="2622017"/>
                                <a:ext cx="11018" cy="3426245"/>
                              </a:xfrm>
                              <a:prstGeom prst="line">
                                <a:avLst/>
                              </a:prstGeom>
                              <a:ln w="19050">
                                <a:solidFill>
                                  <a:schemeClr val="accent6"/>
                                </a:solidFill>
                              </a:ln>
                            </p:spPr>
                            <p:style>
                              <a:lnRef idx="2">
                                <a:schemeClr val="accent6">
                                  <a:shade val="50000"/>
                                </a:schemeClr>
                              </a:lnRef>
                              <a:fillRef idx="1">
                                <a:schemeClr val="accent6"/>
                              </a:fillRef>
                              <a:effectRef idx="0">
                                <a:schemeClr val="accent6"/>
                              </a:effectRef>
                              <a:fontRef idx="minor">
                                <a:schemeClr val="lt1"/>
                              </a:fontRef>
                            </p:style>
                          </p:cxnSp>
                        </p:grpSp>
                        <p:sp>
                          <p:nvSpPr>
                            <p:cNvPr id="97" name="TextBox 96"/>
                            <p:cNvSpPr txBox="1"/>
                            <p:nvPr/>
                          </p:nvSpPr>
                          <p:spPr>
                            <a:xfrm>
                              <a:off x="252203" y="2269844"/>
                              <a:ext cx="1253493" cy="1598663"/>
                            </a:xfrm>
                            <a:prstGeom prst="rect">
                              <a:avLst/>
                            </a:prstGeom>
                            <a:noFill/>
                          </p:spPr>
                          <p:txBody>
                            <a:bodyPr wrap="square" rtlCol="0">
                              <a:spAutoFit/>
                            </a:bodyPr>
                            <a:lstStyle/>
                            <a:p>
                              <a:pPr algn="ctr"/>
                              <a:r>
                                <a:rPr lang="en-US" b="1" dirty="0" smtClean="0">
                                  <a:solidFill>
                                    <a:schemeClr val="bg1"/>
                                  </a:solidFill>
                                  <a:latin typeface="Century" panose="02040604050505020304" pitchFamily="18" charset="0"/>
                                </a:rPr>
                                <a:t>Milestone 1</a:t>
                              </a:r>
                            </a:p>
                            <a:p>
                              <a:pPr algn="ctr"/>
                              <a:endParaRPr lang="en-US" sz="1600" dirty="0">
                                <a:solidFill>
                                  <a:schemeClr val="bg1"/>
                                </a:solidFill>
                                <a:latin typeface="Century" panose="02040604050505020304" pitchFamily="18" charset="0"/>
                              </a:endParaRPr>
                            </a:p>
                            <a:p>
                              <a:pPr algn="ctr"/>
                              <a:r>
                                <a:rPr lang="en-US" sz="1600" dirty="0" smtClean="0">
                                  <a:solidFill>
                                    <a:schemeClr val="bg1"/>
                                  </a:solidFill>
                                  <a:latin typeface="Century" panose="02040604050505020304" pitchFamily="18" charset="0"/>
                                </a:rPr>
                                <a:t>Topic Submission</a:t>
                              </a:r>
                              <a:endParaRPr lang="en-US" sz="1600" dirty="0">
                                <a:solidFill>
                                  <a:schemeClr val="bg1"/>
                                </a:solidFill>
                                <a:latin typeface="Century" panose="02040604050505020304" pitchFamily="18" charset="0"/>
                              </a:endParaRPr>
                            </a:p>
                          </p:txBody>
                        </p:sp>
                      </p:grpSp>
                    </p:grpSp>
                    <p:sp>
                      <p:nvSpPr>
                        <p:cNvPr id="101" name="TextBox 100"/>
                        <p:cNvSpPr txBox="1"/>
                        <p:nvPr/>
                      </p:nvSpPr>
                      <p:spPr>
                        <a:xfrm>
                          <a:off x="1833129" y="2485458"/>
                          <a:ext cx="984113" cy="1055721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square" rtlCol="0">
                          <a:spAutoFit/>
                        </a:bodyPr>
                        <a:lstStyle/>
                        <a:p>
                          <a:pPr algn="ctr"/>
                          <a:r>
                            <a:rPr lang="en-US" sz="1400" b="1" dirty="0" smtClean="0">
                              <a:solidFill>
                                <a:schemeClr val="bg1"/>
                              </a:solidFill>
                              <a:latin typeface="Century" panose="02040604050505020304" pitchFamily="18" charset="0"/>
                            </a:rPr>
                            <a:t>Milestone 2</a:t>
                          </a:r>
                        </a:p>
                        <a:p>
                          <a:pPr algn="ctr"/>
                          <a:endParaRPr lang="en-US" sz="1200" dirty="0">
                            <a:solidFill>
                              <a:schemeClr val="bg1"/>
                            </a:solidFill>
                            <a:latin typeface="Century" panose="02040604050505020304" pitchFamily="18" charset="0"/>
                          </a:endParaRPr>
                        </a:p>
                        <a:p>
                          <a:pPr algn="ctr"/>
                          <a:r>
                            <a:rPr lang="en-US" sz="1200" dirty="0" smtClean="0">
                              <a:solidFill>
                                <a:schemeClr val="bg1"/>
                              </a:solidFill>
                              <a:latin typeface="Century" panose="02040604050505020304" pitchFamily="18" charset="0"/>
                            </a:rPr>
                            <a:t>Wait n Watch....</a:t>
                          </a:r>
                          <a:endParaRPr lang="en-US" sz="1200" dirty="0">
                            <a:solidFill>
                              <a:schemeClr val="bg1"/>
                            </a:solidFill>
                            <a:latin typeface="Century" panose="02040604050505020304" pitchFamily="18" charset="0"/>
                          </a:endParaRPr>
                        </a:p>
                      </p:txBody>
                    </p:sp>
                    <p:sp>
                      <p:nvSpPr>
                        <p:cNvPr id="102" name="TextBox 101"/>
                        <p:cNvSpPr txBox="1"/>
                        <p:nvPr/>
                      </p:nvSpPr>
                      <p:spPr>
                        <a:xfrm>
                          <a:off x="3202709" y="2689919"/>
                          <a:ext cx="805817" cy="806537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square" rtlCol="0">
                          <a:spAutoFit/>
                        </a:bodyPr>
                        <a:lstStyle/>
                        <a:p>
                          <a:pPr algn="ctr"/>
                          <a:r>
                            <a:rPr lang="en-US" sz="1050" b="1" dirty="0" smtClean="0">
                              <a:solidFill>
                                <a:schemeClr val="bg1"/>
                              </a:solidFill>
                              <a:latin typeface="Century" panose="02040604050505020304" pitchFamily="18" charset="0"/>
                            </a:rPr>
                            <a:t>Milestone 3</a:t>
                          </a:r>
                        </a:p>
                        <a:p>
                          <a:pPr algn="ctr"/>
                          <a:endParaRPr lang="en-US" sz="1000" dirty="0">
                            <a:solidFill>
                              <a:schemeClr val="bg1"/>
                            </a:solidFill>
                            <a:latin typeface="Century" panose="02040604050505020304" pitchFamily="18" charset="0"/>
                          </a:endParaRPr>
                        </a:p>
                        <a:p>
                          <a:pPr algn="ctr"/>
                          <a:r>
                            <a:rPr lang="en-US" sz="1000" dirty="0" smtClean="0">
                              <a:solidFill>
                                <a:schemeClr val="bg1"/>
                              </a:solidFill>
                              <a:latin typeface="Century" panose="02040604050505020304" pitchFamily="18" charset="0"/>
                            </a:rPr>
                            <a:t>Wait n Watch....</a:t>
                          </a:r>
                          <a:endParaRPr lang="en-US" sz="1000" dirty="0">
                            <a:solidFill>
                              <a:schemeClr val="bg1"/>
                            </a:solidFill>
                            <a:latin typeface="Century" panose="02040604050505020304" pitchFamily="18" charset="0"/>
                          </a:endParaRPr>
                        </a:p>
                      </p:txBody>
                    </p:sp>
                  </p:grpSp>
                  <p:pic>
                    <p:nvPicPr>
                      <p:cNvPr id="36" name="Picture 35"/>
                      <p:cNvPicPr>
                        <a:picLocks noChangeAspect="1"/>
                      </p:cNvPicPr>
                      <p:nvPr/>
                    </p:nvPicPr>
                    <p:blipFill>
                      <a:blip r:embed="rId8" cstate="print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4650747" y="2470341"/>
                        <a:ext cx="413639" cy="703423"/>
                      </a:xfrm>
                      <a:prstGeom prst="rect">
                        <a:avLst/>
                      </a:prstGeom>
                    </p:spPr>
                  </p:pic>
                </p:grpSp>
                <p:grpSp>
                  <p:nvGrpSpPr>
                    <p:cNvPr id="110" name="Group 109"/>
                    <p:cNvGrpSpPr/>
                    <p:nvPr/>
                  </p:nvGrpSpPr>
                  <p:grpSpPr>
                    <a:xfrm>
                      <a:off x="4653244" y="3480263"/>
                      <a:ext cx="366074" cy="527899"/>
                      <a:chOff x="6096000" y="2999124"/>
                      <a:chExt cx="366074" cy="527899"/>
                    </a:xfrm>
                    <a:scene3d>
                      <a:camera prst="perspectiveContrastingLeftFacing"/>
                      <a:lightRig rig="threePt" dir="t"/>
                    </a:scene3d>
                  </p:grpSpPr>
                  <p:cxnSp>
                    <p:nvCxnSpPr>
                      <p:cNvPr id="106" name="Straight Arrow Connector 105"/>
                      <p:cNvCxnSpPr/>
                      <p:nvPr/>
                    </p:nvCxnSpPr>
                    <p:spPr>
                      <a:xfrm flipV="1">
                        <a:off x="6096000" y="2999124"/>
                        <a:ext cx="0" cy="526274"/>
                      </a:xfrm>
                      <a:prstGeom prst="straightConnector1">
                        <a:avLst/>
                      </a:prstGeom>
                      <a:ln>
                        <a:solidFill>
                          <a:srgbClr val="C00000"/>
                        </a:solidFill>
                        <a:tailEnd type="triangl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07" name="Straight Arrow Connector 106"/>
                      <p:cNvCxnSpPr/>
                      <p:nvPr/>
                    </p:nvCxnSpPr>
                    <p:spPr>
                      <a:xfrm flipV="1">
                        <a:off x="6462074" y="3000749"/>
                        <a:ext cx="0" cy="526274"/>
                      </a:xfrm>
                      <a:prstGeom prst="straightConnector1">
                        <a:avLst/>
                      </a:prstGeom>
                      <a:ln>
                        <a:solidFill>
                          <a:srgbClr val="C00000"/>
                        </a:solidFill>
                        <a:tailEnd type="triangl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sp>
                    <p:nvSpPr>
                      <p:cNvPr id="108" name="Wave 107"/>
                      <p:cNvSpPr/>
                      <p:nvPr/>
                    </p:nvSpPr>
                    <p:spPr>
                      <a:xfrm>
                        <a:off x="6096000" y="3080697"/>
                        <a:ext cx="366074" cy="153009"/>
                      </a:xfrm>
                      <a:prstGeom prst="wave">
                        <a:avLst/>
                      </a:prstGeom>
                      <a:solidFill>
                        <a:srgbClr val="FF0000"/>
                      </a:solidFill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en-US" sz="500" dirty="0" smtClean="0">
                            <a:latin typeface="Andalus" panose="02020603050405020304" pitchFamily="18" charset="-78"/>
                            <a:cs typeface="Andalus" panose="02020603050405020304" pitchFamily="18" charset="-78"/>
                          </a:rPr>
                          <a:t>FINISH</a:t>
                        </a:r>
                        <a:endParaRPr lang="en-US" sz="500" dirty="0">
                          <a:latin typeface="Andalus" panose="02020603050405020304" pitchFamily="18" charset="-78"/>
                          <a:cs typeface="Andalus" panose="02020603050405020304" pitchFamily="18" charset="-78"/>
                        </a:endParaRPr>
                      </a:p>
                    </p:txBody>
                  </p:sp>
                </p:grpSp>
              </p:grpSp>
              <p:pic>
                <p:nvPicPr>
                  <p:cNvPr id="112" name="Picture 111"/>
                  <p:cNvPicPr>
                    <a:picLocks noChangeAspect="1"/>
                  </p:cNvPicPr>
                  <p:nvPr/>
                </p:nvPicPr>
                <p:blipFill>
                  <a:blip r:embed="rId9" cstate="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duotone>
                      <a:schemeClr val="accent2">
                        <a:shade val="45000"/>
                        <a:satMod val="135000"/>
                      </a:schemeClr>
                      <a:prstClr val="white"/>
                    </a:duotone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4311054" y="3747018"/>
                    <a:ext cx="462559" cy="471379"/>
                  </a:xfrm>
                  <a:prstGeom prst="rect">
                    <a:avLst/>
                  </a:prstGeom>
                </p:spPr>
              </p:pic>
            </p:grpSp>
            <p:cxnSp>
              <p:nvCxnSpPr>
                <p:cNvPr id="72" name="Straight Connector 71"/>
                <p:cNvCxnSpPr/>
                <p:nvPr/>
              </p:nvCxnSpPr>
              <p:spPr>
                <a:xfrm>
                  <a:off x="7521246" y="3430535"/>
                  <a:ext cx="24514" cy="1219247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2">
                  <a:schemeClr val="accent6">
                    <a:shade val="50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3" name="TextBox 72"/>
              <p:cNvSpPr txBox="1"/>
              <p:nvPr/>
            </p:nvSpPr>
            <p:spPr>
              <a:xfrm>
                <a:off x="8636077" y="3152811"/>
                <a:ext cx="731520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800" b="1" dirty="0" smtClean="0">
                    <a:solidFill>
                      <a:schemeClr val="bg1"/>
                    </a:solidFill>
                    <a:latin typeface="Century" panose="02040604050505020304" pitchFamily="18" charset="0"/>
                  </a:rPr>
                  <a:t>Milestone 4</a:t>
                </a:r>
              </a:p>
              <a:p>
                <a:pPr algn="ctr"/>
                <a:endParaRPr lang="en-US" sz="700" dirty="0">
                  <a:solidFill>
                    <a:schemeClr val="bg1"/>
                  </a:solidFill>
                  <a:latin typeface="Century" panose="02040604050505020304" pitchFamily="18" charset="0"/>
                </a:endParaRPr>
              </a:p>
              <a:p>
                <a:pPr algn="ctr"/>
                <a:r>
                  <a:rPr lang="en-US" sz="700" dirty="0" smtClean="0">
                    <a:solidFill>
                      <a:schemeClr val="bg1"/>
                    </a:solidFill>
                    <a:latin typeface="Century" panose="02040604050505020304" pitchFamily="18" charset="0"/>
                  </a:rPr>
                  <a:t>Winner</a:t>
                </a:r>
                <a:endParaRPr lang="en-US" sz="700" dirty="0">
                  <a:solidFill>
                    <a:schemeClr val="bg1"/>
                  </a:solidFill>
                  <a:latin typeface="Century" panose="02040604050505020304" pitchFamily="18" charset="0"/>
                </a:endParaRPr>
              </a:p>
            </p:txBody>
          </p:sp>
          <p:cxnSp>
            <p:nvCxnSpPr>
              <p:cNvPr id="12" name="Curved Connector 11"/>
              <p:cNvCxnSpPr/>
              <p:nvPr/>
            </p:nvCxnSpPr>
            <p:spPr>
              <a:xfrm rot="16200000" flipV="1">
                <a:off x="3709962" y="1893670"/>
                <a:ext cx="990705" cy="606108"/>
              </a:xfrm>
              <a:prstGeom prst="curvedConnector3">
                <a:avLst/>
              </a:prstGeom>
              <a:ln>
                <a:solidFill>
                  <a:schemeClr val="accent6"/>
                </a:solidFill>
                <a:tailEnd type="triangle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4" name="Pentagon 73"/>
              <p:cNvSpPr/>
              <p:nvPr/>
            </p:nvSpPr>
            <p:spPr>
              <a:xfrm flipH="1">
                <a:off x="846529" y="2379275"/>
                <a:ext cx="3028956" cy="774177"/>
              </a:xfrm>
              <a:prstGeom prst="homePlate">
                <a:avLst/>
              </a:prstGeom>
              <a:solidFill>
                <a:srgbClr val="92D050"/>
              </a:solidFill>
              <a:ln>
                <a:solidFill>
                  <a:schemeClr val="accent6"/>
                </a:solidFill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6" name="Pentagon 95"/>
              <p:cNvSpPr/>
              <p:nvPr/>
            </p:nvSpPr>
            <p:spPr>
              <a:xfrm flipH="1">
                <a:off x="853073" y="3400978"/>
                <a:ext cx="3028956" cy="774177"/>
              </a:xfrm>
              <a:prstGeom prst="homePlate">
                <a:avLst/>
              </a:prstGeom>
              <a:solidFill>
                <a:srgbClr val="92D050"/>
              </a:solidFill>
              <a:ln>
                <a:solidFill>
                  <a:schemeClr val="accent6"/>
                </a:solidFill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9" name="Pentagon 98"/>
              <p:cNvSpPr/>
              <p:nvPr/>
            </p:nvSpPr>
            <p:spPr>
              <a:xfrm flipH="1">
                <a:off x="874940" y="4448652"/>
                <a:ext cx="3028956" cy="774177"/>
              </a:xfrm>
              <a:prstGeom prst="homePlate">
                <a:avLst/>
              </a:prstGeom>
              <a:solidFill>
                <a:srgbClr val="92D050"/>
              </a:solidFill>
              <a:ln>
                <a:solidFill>
                  <a:schemeClr val="accent6"/>
                </a:solidFill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05" name="Curved Connector 104"/>
              <p:cNvCxnSpPr/>
              <p:nvPr/>
            </p:nvCxnSpPr>
            <p:spPr>
              <a:xfrm rot="5400000">
                <a:off x="3708909" y="4086318"/>
                <a:ext cx="990705" cy="606108"/>
              </a:xfrm>
              <a:prstGeom prst="curvedConnector3">
                <a:avLst/>
              </a:prstGeom>
              <a:ln>
                <a:solidFill>
                  <a:schemeClr val="accent6"/>
                </a:solidFill>
                <a:tailEnd type="triangle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Curved Connector 108"/>
              <p:cNvCxnSpPr/>
              <p:nvPr/>
            </p:nvCxnSpPr>
            <p:spPr>
              <a:xfrm rot="10800000">
                <a:off x="3875485" y="2559891"/>
                <a:ext cx="631514" cy="532763"/>
              </a:xfrm>
              <a:prstGeom prst="curvedConnector3">
                <a:avLst/>
              </a:prstGeom>
              <a:ln>
                <a:solidFill>
                  <a:schemeClr val="accent6"/>
                </a:solidFill>
                <a:tailEnd type="triangle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Curved Connector 112"/>
              <p:cNvCxnSpPr/>
              <p:nvPr/>
            </p:nvCxnSpPr>
            <p:spPr>
              <a:xfrm rot="10800000" flipV="1">
                <a:off x="3888397" y="3365475"/>
                <a:ext cx="605600" cy="479973"/>
              </a:xfrm>
              <a:prstGeom prst="curvedConnector3">
                <a:avLst/>
              </a:prstGeom>
              <a:ln>
                <a:solidFill>
                  <a:schemeClr val="accent6"/>
                </a:solidFill>
                <a:tailEnd type="triangle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4" name="TextBox 23"/>
            <p:cNvSpPr txBox="1"/>
            <p:nvPr/>
          </p:nvSpPr>
          <p:spPr>
            <a:xfrm>
              <a:off x="1359220" y="1525771"/>
              <a:ext cx="2501447" cy="70788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600" b="1" u="sng" dirty="0" smtClean="0">
                  <a:solidFill>
                    <a:srgbClr val="F7F7F7"/>
                  </a:solidFill>
                </a:rPr>
                <a:t>Step 1</a:t>
              </a:r>
              <a:r>
                <a:rPr lang="en-US" sz="1400" dirty="0" smtClean="0">
                  <a:solidFill>
                    <a:srgbClr val="F7F7F7"/>
                  </a:solidFill>
                </a:rPr>
                <a:t>: </a:t>
              </a:r>
            </a:p>
            <a:p>
              <a:r>
                <a:rPr lang="en-US" sz="1200" dirty="0" smtClean="0">
                  <a:solidFill>
                    <a:srgbClr val="F7F7F7"/>
                  </a:solidFill>
                  <a:latin typeface="Century" panose="02040604050505020304" pitchFamily="18" charset="0"/>
                  <a:cs typeface="Arial" panose="020B0604020202020204" pitchFamily="34" charset="0"/>
                </a:rPr>
                <a:t>Form </a:t>
              </a:r>
              <a:r>
                <a:rPr lang="en-US" sz="1200" dirty="0">
                  <a:solidFill>
                    <a:srgbClr val="F7F7F7"/>
                  </a:solidFill>
                  <a:latin typeface="Century" panose="02040604050505020304" pitchFamily="18" charset="0"/>
                  <a:cs typeface="Arial" panose="020B0604020202020204" pitchFamily="34" charset="0"/>
                </a:rPr>
                <a:t>teams of up to 4 associates (individual entries accepted</a:t>
              </a:r>
              <a:r>
                <a:rPr lang="en-US" sz="1200" dirty="0" smtClean="0">
                  <a:solidFill>
                    <a:srgbClr val="F7F7F7"/>
                  </a:solidFill>
                  <a:latin typeface="Century" panose="02040604050505020304" pitchFamily="18" charset="0"/>
                  <a:cs typeface="Arial" panose="020B0604020202020204" pitchFamily="34" charset="0"/>
                </a:rPr>
                <a:t>)</a:t>
              </a:r>
              <a:endParaRPr lang="en-US" sz="1400" dirty="0"/>
            </a:p>
          </p:txBody>
        </p:sp>
        <p:sp>
          <p:nvSpPr>
            <p:cNvPr id="118" name="TextBox 117"/>
            <p:cNvSpPr txBox="1"/>
            <p:nvPr/>
          </p:nvSpPr>
          <p:spPr>
            <a:xfrm>
              <a:off x="1362120" y="2542478"/>
              <a:ext cx="2364782" cy="67095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600" b="1" u="sng" dirty="0" smtClean="0">
                  <a:solidFill>
                    <a:srgbClr val="F7F7F7"/>
                  </a:solidFill>
                </a:rPr>
                <a:t>Step 2</a:t>
              </a:r>
              <a:r>
                <a:rPr lang="en-US" sz="1400" dirty="0" smtClean="0">
                  <a:solidFill>
                    <a:srgbClr val="F7F7F7"/>
                  </a:solidFill>
                </a:rPr>
                <a:t>: </a:t>
              </a:r>
            </a:p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dirty="0" smtClean="0">
                  <a:solidFill>
                    <a:srgbClr val="F7F7F7"/>
                  </a:solidFill>
                  <a:latin typeface="Century" panose="02040604050505020304" pitchFamily="18" charset="0"/>
                  <a:cs typeface="Arial" panose="020B0604020202020204" pitchFamily="34" charset="0"/>
                </a:rPr>
                <a:t>Nominate a primary Correspondent</a:t>
              </a:r>
              <a:endParaRPr lang="en-US" sz="1200" dirty="0">
                <a:solidFill>
                  <a:srgbClr val="F7F7F7"/>
                </a:solidFill>
                <a:latin typeface="Century" panose="020406040505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1277959" y="3593989"/>
              <a:ext cx="2445756" cy="73866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600" b="1" u="sng" dirty="0" smtClean="0">
                  <a:solidFill>
                    <a:srgbClr val="F7F7F7"/>
                  </a:solidFill>
                </a:rPr>
                <a:t>Step 3</a:t>
              </a:r>
              <a:r>
                <a:rPr lang="en-US" sz="1400" dirty="0" smtClean="0">
                  <a:solidFill>
                    <a:srgbClr val="F7F7F7"/>
                  </a:solidFill>
                </a:rPr>
                <a:t>: </a:t>
              </a:r>
            </a:p>
            <a:p>
              <a:r>
                <a:rPr lang="en-US" sz="1200" dirty="0" smtClean="0">
                  <a:solidFill>
                    <a:srgbClr val="F7F7F7"/>
                  </a:solidFill>
                  <a:latin typeface="Century" panose="02040604050505020304" pitchFamily="18" charset="0"/>
                  <a:cs typeface="Arial" panose="020B0604020202020204" pitchFamily="34" charset="0"/>
                </a:rPr>
                <a:t>Select a topic pertinent to MES</a:t>
              </a:r>
              <a:endParaRPr lang="en-US" sz="1200" dirty="0">
                <a:solidFill>
                  <a:srgbClr val="F7F7F7"/>
                </a:solidFill>
                <a:latin typeface="Century" panose="02040604050505020304" pitchFamily="18" charset="0"/>
                <a:cs typeface="Arial" panose="020B0604020202020204" pitchFamily="34" charset="0"/>
              </a:endParaRPr>
            </a:p>
            <a:p>
              <a:endParaRPr lang="en-US" sz="1400" dirty="0">
                <a:solidFill>
                  <a:srgbClr val="F7F7F7"/>
                </a:solidFill>
              </a:endParaRPr>
            </a:p>
          </p:txBody>
        </p:sp>
        <p:sp>
          <p:nvSpPr>
            <p:cNvPr id="120" name="TextBox 119"/>
            <p:cNvSpPr txBox="1"/>
            <p:nvPr/>
          </p:nvSpPr>
          <p:spPr>
            <a:xfrm>
              <a:off x="1393223" y="4570281"/>
              <a:ext cx="2158594" cy="70788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600" b="1" u="sng" dirty="0" smtClean="0">
                  <a:solidFill>
                    <a:srgbClr val="F7F7F7"/>
                  </a:solidFill>
                </a:rPr>
                <a:t>Step 4</a:t>
              </a:r>
              <a:r>
                <a:rPr lang="en-US" sz="1400" dirty="0" smtClean="0">
                  <a:solidFill>
                    <a:srgbClr val="F7F7F7"/>
                  </a:solidFill>
                </a:rPr>
                <a:t>: </a:t>
              </a:r>
            </a:p>
            <a:p>
              <a:pPr algn="ctr"/>
              <a:r>
                <a:rPr lang="en-US" sz="1200" dirty="0" smtClean="0">
                  <a:solidFill>
                    <a:srgbClr val="F7F7F7"/>
                  </a:solidFill>
                  <a:latin typeface="Century" panose="02040604050505020304" pitchFamily="18" charset="0"/>
                  <a:cs typeface="Arial" panose="020B0604020202020204" pitchFamily="34" charset="0"/>
                </a:rPr>
                <a:t>Submit your topic by</a:t>
              </a:r>
            </a:p>
            <a:p>
              <a:pPr algn="ctr"/>
              <a:r>
                <a:rPr lang="en-US" sz="1200" dirty="0" smtClean="0">
                  <a:solidFill>
                    <a:srgbClr val="F7F7F7"/>
                  </a:solidFill>
                  <a:latin typeface="Century" panose="02040604050505020304" pitchFamily="18" charset="0"/>
                  <a:cs typeface="Arial" panose="020B0604020202020204" pitchFamily="34" charset="0"/>
                </a:rPr>
                <a:t> 31</a:t>
              </a:r>
              <a:r>
                <a:rPr lang="en-US" sz="1200" baseline="30000" dirty="0" smtClean="0">
                  <a:solidFill>
                    <a:srgbClr val="F7F7F7"/>
                  </a:solidFill>
                  <a:latin typeface="Century" panose="02040604050505020304" pitchFamily="18" charset="0"/>
                  <a:cs typeface="Arial" panose="020B0604020202020204" pitchFamily="34" charset="0"/>
                </a:rPr>
                <a:t>st</a:t>
              </a:r>
              <a:r>
                <a:rPr lang="en-US" sz="1200" dirty="0" smtClean="0">
                  <a:solidFill>
                    <a:srgbClr val="F7F7F7"/>
                  </a:solidFill>
                  <a:latin typeface="Century" panose="02040604050505020304" pitchFamily="18" charset="0"/>
                  <a:cs typeface="Arial" panose="020B0604020202020204" pitchFamily="34" charset="0"/>
                </a:rPr>
                <a:t> July, 2017</a:t>
              </a:r>
              <a:endParaRPr lang="en-US" sz="1400" dirty="0">
                <a:solidFill>
                  <a:srgbClr val="F7F7F7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10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298" y="1629634"/>
            <a:ext cx="533847" cy="539295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325" y="2676278"/>
            <a:ext cx="530352" cy="530352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12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104" y="3700940"/>
            <a:ext cx="548640" cy="548640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181" y="4750994"/>
            <a:ext cx="539496" cy="539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366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TextBox 88"/>
          <p:cNvSpPr txBox="1"/>
          <p:nvPr/>
        </p:nvSpPr>
        <p:spPr>
          <a:xfrm>
            <a:off x="0" y="6532772"/>
            <a:ext cx="12192000" cy="30777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400" spc="300" dirty="0" smtClean="0">
                <a:latin typeface="Century" panose="02040604050505020304" pitchFamily="18" charset="0"/>
                <a:ea typeface="Gungsuh" panose="02030600000101010101" pitchFamily="18" charset="-127"/>
                <a:cs typeface="Utsaah" panose="020B0604020202020204" pitchFamily="34" charset="0"/>
              </a:rPr>
              <a:t>One MES-Customer Engagement initiative</a:t>
            </a:r>
          </a:p>
        </p:txBody>
      </p:sp>
      <p:grpSp>
        <p:nvGrpSpPr>
          <p:cNvPr id="103" name="Group 102"/>
          <p:cNvGrpSpPr/>
          <p:nvPr/>
        </p:nvGrpSpPr>
        <p:grpSpPr>
          <a:xfrm>
            <a:off x="-3297" y="-5615"/>
            <a:ext cx="12192001" cy="7304289"/>
            <a:chOff x="-3297" y="-5615"/>
            <a:chExt cx="12192001" cy="7304289"/>
          </a:xfrm>
        </p:grpSpPr>
        <p:grpSp>
          <p:nvGrpSpPr>
            <p:cNvPr id="99" name="Group 98"/>
            <p:cNvGrpSpPr/>
            <p:nvPr/>
          </p:nvGrpSpPr>
          <p:grpSpPr>
            <a:xfrm>
              <a:off x="-3297" y="-5615"/>
              <a:ext cx="12192001" cy="7304289"/>
              <a:chOff x="-3297" y="-5615"/>
              <a:chExt cx="12192001" cy="7304289"/>
            </a:xfrm>
          </p:grpSpPr>
          <p:sp>
            <p:nvSpPr>
              <p:cNvPr id="98" name="Rectangle 97"/>
              <p:cNvSpPr/>
              <p:nvPr/>
            </p:nvSpPr>
            <p:spPr>
              <a:xfrm>
                <a:off x="-3297" y="-5615"/>
                <a:ext cx="12192001" cy="6858000"/>
              </a:xfrm>
              <a:prstGeom prst="rect">
                <a:avLst/>
              </a:prstGeom>
              <a:solidFill>
                <a:srgbClr val="F7F7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tIns="182880" rIns="182880" bIns="182880" rtlCol="0" anchor="ctr" anchorCtr="0"/>
              <a:lstStyle/>
              <a:p>
                <a:pPr>
                  <a:spcAft>
                    <a:spcPts val="600"/>
                  </a:spcAft>
                </a:pPr>
                <a:endParaRPr lang="en-US" dirty="0">
                  <a:solidFill>
                    <a:srgbClr val="F7F7F7"/>
                  </a:solidFill>
                </a:endParaRPr>
              </a:p>
            </p:txBody>
          </p:sp>
          <p:grpSp>
            <p:nvGrpSpPr>
              <p:cNvPr id="86" name="Group 85"/>
              <p:cNvGrpSpPr/>
              <p:nvPr/>
            </p:nvGrpSpPr>
            <p:grpSpPr>
              <a:xfrm>
                <a:off x="362823" y="815247"/>
                <a:ext cx="9279141" cy="6483427"/>
                <a:chOff x="362823" y="683045"/>
                <a:chExt cx="9279141" cy="6483427"/>
              </a:xfrm>
            </p:grpSpPr>
            <p:pic>
              <p:nvPicPr>
                <p:cNvPr id="4" name="Picture 3"/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679631" y="683045"/>
                  <a:ext cx="5267325" cy="6483427"/>
                </a:xfrm>
                <a:prstGeom prst="rect">
                  <a:avLst/>
                </a:prstGeom>
                <a:noFill/>
                <a:ln>
                  <a:noFill/>
                </a:ln>
                <a:scene3d>
                  <a:camera prst="perspectiveRelaxed"/>
                  <a:lightRig rig="threePt" dir="t"/>
                </a:scene3d>
              </p:spPr>
            </p:pic>
            <p:grpSp>
              <p:nvGrpSpPr>
                <p:cNvPr id="41" name="Group 40"/>
                <p:cNvGrpSpPr/>
                <p:nvPr/>
              </p:nvGrpSpPr>
              <p:grpSpPr>
                <a:xfrm>
                  <a:off x="362823" y="940776"/>
                  <a:ext cx="9279141" cy="5062050"/>
                  <a:chOff x="362823" y="940776"/>
                  <a:chExt cx="9279141" cy="5062050"/>
                </a:xfrm>
              </p:grpSpPr>
              <p:grpSp>
                <p:nvGrpSpPr>
                  <p:cNvPr id="42" name="Group 41"/>
                  <p:cNvGrpSpPr/>
                  <p:nvPr/>
                </p:nvGrpSpPr>
                <p:grpSpPr>
                  <a:xfrm>
                    <a:off x="362823" y="940776"/>
                    <a:ext cx="9279141" cy="5062050"/>
                    <a:chOff x="715367" y="764504"/>
                    <a:chExt cx="9279141" cy="5062050"/>
                  </a:xfrm>
                </p:grpSpPr>
                <p:sp>
                  <p:nvSpPr>
                    <p:cNvPr id="47" name="Pentagon 46"/>
                    <p:cNvSpPr/>
                    <p:nvPr/>
                  </p:nvSpPr>
                  <p:spPr>
                    <a:xfrm flipH="1">
                      <a:off x="743778" y="951114"/>
                      <a:ext cx="3028956" cy="774177"/>
                    </a:xfrm>
                    <a:prstGeom prst="homePlate">
                      <a:avLst/>
                    </a:prstGeom>
                    <a:solidFill>
                      <a:srgbClr val="92D050"/>
                    </a:solidFill>
                    <a:ln>
                      <a:solidFill>
                        <a:schemeClr val="accent6"/>
                      </a:solidFill>
                    </a:ln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  <p:grpSp>
                  <p:nvGrpSpPr>
                    <p:cNvPr id="48" name="Group 47"/>
                    <p:cNvGrpSpPr/>
                    <p:nvPr/>
                  </p:nvGrpSpPr>
                  <p:grpSpPr>
                    <a:xfrm>
                      <a:off x="4351641" y="764504"/>
                      <a:ext cx="5642867" cy="5062050"/>
                      <a:chOff x="4351641" y="764504"/>
                      <a:chExt cx="5642867" cy="5062050"/>
                    </a:xfrm>
                  </p:grpSpPr>
                  <p:grpSp>
                    <p:nvGrpSpPr>
                      <p:cNvPr id="57" name="Group 56"/>
                      <p:cNvGrpSpPr/>
                      <p:nvPr/>
                    </p:nvGrpSpPr>
                    <p:grpSpPr>
                      <a:xfrm>
                        <a:off x="4351641" y="764504"/>
                        <a:ext cx="5642867" cy="5062050"/>
                        <a:chOff x="291075" y="769474"/>
                        <a:chExt cx="5525327" cy="4961031"/>
                      </a:xfrm>
                    </p:grpSpPr>
                    <p:grpSp>
                      <p:nvGrpSpPr>
                        <p:cNvPr id="59" name="Group 58"/>
                        <p:cNvGrpSpPr/>
                        <p:nvPr/>
                      </p:nvGrpSpPr>
                      <p:grpSpPr>
                        <a:xfrm>
                          <a:off x="291075" y="769474"/>
                          <a:ext cx="5525327" cy="4961031"/>
                          <a:chOff x="291075" y="769474"/>
                          <a:chExt cx="5525327" cy="4961031"/>
                        </a:xfrm>
                      </p:grpSpPr>
                      <p:grpSp>
                        <p:nvGrpSpPr>
                          <p:cNvPr id="61" name="Group 60"/>
                          <p:cNvGrpSpPr/>
                          <p:nvPr/>
                        </p:nvGrpSpPr>
                        <p:grpSpPr>
                          <a:xfrm>
                            <a:off x="291075" y="769474"/>
                            <a:ext cx="5525327" cy="4961031"/>
                            <a:chOff x="291075" y="769474"/>
                            <a:chExt cx="5525327" cy="4961031"/>
                          </a:xfrm>
                        </p:grpSpPr>
                        <p:grpSp>
                          <p:nvGrpSpPr>
                            <p:cNvPr id="66" name="Group 65"/>
                            <p:cNvGrpSpPr/>
                            <p:nvPr/>
                          </p:nvGrpSpPr>
                          <p:grpSpPr>
                            <a:xfrm>
                              <a:off x="291075" y="769474"/>
                              <a:ext cx="5525327" cy="4961031"/>
                              <a:chOff x="123773" y="792684"/>
                              <a:chExt cx="5525327" cy="4961031"/>
                            </a:xfrm>
                          </p:grpSpPr>
                          <p:grpSp>
                            <p:nvGrpSpPr>
                              <p:cNvPr id="68" name="Group 67"/>
                              <p:cNvGrpSpPr/>
                              <p:nvPr/>
                            </p:nvGrpSpPr>
                            <p:grpSpPr>
                              <a:xfrm>
                                <a:off x="123773" y="792684"/>
                                <a:ext cx="5508410" cy="4961031"/>
                                <a:chOff x="123773" y="792684"/>
                                <a:chExt cx="5508410" cy="4961031"/>
                              </a:xfrm>
                            </p:grpSpPr>
                            <p:grpSp>
                              <p:nvGrpSpPr>
                                <p:cNvPr id="71" name="Group 70"/>
                                <p:cNvGrpSpPr/>
                                <p:nvPr/>
                              </p:nvGrpSpPr>
                              <p:grpSpPr>
                                <a:xfrm>
                                  <a:off x="4736830" y="975570"/>
                                  <a:ext cx="895353" cy="3048912"/>
                                  <a:chOff x="8207055" y="-1695151"/>
                                  <a:chExt cx="1518833" cy="5047644"/>
                                </a:xfrm>
                              </p:grpSpPr>
                              <p:sp>
                                <p:nvSpPr>
                                  <p:cNvPr id="80" name="Round Diagonal Corner Rectangle 79"/>
                                  <p:cNvSpPr/>
                                  <p:nvPr/>
                                </p:nvSpPr>
                                <p:spPr>
                                  <a:xfrm>
                                    <a:off x="8207055" y="-1695151"/>
                                    <a:ext cx="1518833" cy="2967262"/>
                                  </a:xfrm>
                                  <a:prstGeom prst="round2DiagRect">
                                    <a:avLst>
                                      <a:gd name="adj1" fmla="val 38365"/>
                                      <a:gd name="adj2" fmla="val 0"/>
                                    </a:avLst>
                                  </a:prstGeom>
                                  <a:solidFill>
                                    <a:srgbClr val="FFC000"/>
                                  </a:solidFill>
                                  <a:ln>
                                    <a:solidFill>
                                      <a:srgbClr val="FFC000"/>
                                    </a:solidFill>
                                  </a:ln>
                                </p:spPr>
                                <p:style>
                                  <a:lnRef idx="2">
                                    <a:schemeClr val="accent1">
                                      <a:shade val="50000"/>
                                    </a:schemeClr>
                                  </a:lnRef>
                                  <a:fillRef idx="1">
                                    <a:schemeClr val="accent1"/>
                                  </a:fillRef>
                                  <a:effectRef idx="0">
                                    <a:schemeClr val="accent1"/>
                                  </a:effectRef>
                                  <a:fontRef idx="minor">
                                    <a:schemeClr val="lt1"/>
                                  </a:fontRef>
                                </p:style>
                                <p:txBody>
                                  <a:bodyPr rtlCol="0" anchor="ctr"/>
                                  <a:lstStyle/>
                                  <a:p>
                                    <a:pPr algn="ctr"/>
                                    <a:endParaRPr lang="en-US" sz="900" dirty="0" smtClean="0">
                                      <a:latin typeface="Century" panose="02040604050505020304" pitchFamily="18" charset="0"/>
                                    </a:endParaRPr>
                                  </a:p>
                                </p:txBody>
                              </p:sp>
                              <p:cxnSp>
                                <p:nvCxnSpPr>
                                  <p:cNvPr id="81" name="Straight Connector 80"/>
                                  <p:cNvCxnSpPr/>
                                  <p:nvPr/>
                                </p:nvCxnSpPr>
                                <p:spPr>
                                  <a:xfrm flipH="1">
                                    <a:off x="8207796" y="-73755"/>
                                    <a:ext cx="11018" cy="3426248"/>
                                  </a:xfrm>
                                  <a:prstGeom prst="line">
                                    <a:avLst/>
                                  </a:prstGeom>
                                  <a:ln w="19050">
                                    <a:solidFill>
                                      <a:srgbClr val="FFC000"/>
                                    </a:solidFill>
                                  </a:ln>
                                </p:spPr>
                                <p:style>
                                  <a:lnRef idx="2">
                                    <a:schemeClr val="accent1">
                                      <a:shade val="50000"/>
                                    </a:schemeClr>
                                  </a:lnRef>
                                  <a:fillRef idx="1">
                                    <a:schemeClr val="accent1"/>
                                  </a:fillRef>
                                  <a:effectRef idx="0">
                                    <a:schemeClr val="accent1"/>
                                  </a:effectRef>
                                  <a:fontRef idx="minor">
                                    <a:schemeClr val="lt1"/>
                                  </a:fontRef>
                                </p:style>
                              </p:cxnSp>
                            </p:grpSp>
                            <p:sp>
                              <p:nvSpPr>
                                <p:cNvPr id="72" name="Round Diagonal Corner Rectangle 71"/>
                                <p:cNvSpPr/>
                                <p:nvPr/>
                              </p:nvSpPr>
                              <p:spPr>
                                <a:xfrm>
                                  <a:off x="3414337" y="792684"/>
                                  <a:ext cx="626747" cy="1254613"/>
                                </a:xfrm>
                                <a:prstGeom prst="round2DiagRect">
                                  <a:avLst>
                                    <a:gd name="adj1" fmla="val 38365"/>
                                    <a:gd name="adj2" fmla="val 0"/>
                                  </a:avLst>
                                </a:prstGeom>
                                <a:ln/>
                              </p:spPr>
                              <p:style>
                                <a:lnRef idx="2">
                                  <a:schemeClr val="accent2">
                                    <a:shade val="50000"/>
                                  </a:schemeClr>
                                </a:lnRef>
                                <a:fillRef idx="1">
                                  <a:schemeClr val="accent2"/>
                                </a:fillRef>
                                <a:effectRef idx="0">
                                  <a:schemeClr val="accent2"/>
                                </a:effectRef>
                                <a:fontRef idx="minor">
                                  <a:schemeClr val="lt1"/>
                                </a:fontRef>
                              </p:style>
                              <p:txBody>
                                <a:bodyPr rtlCol="0" anchor="ctr"/>
                                <a:lstStyle/>
                                <a:p>
                                  <a:pPr algn="ctr"/>
                                  <a:endParaRPr lang="en-US" sz="900" dirty="0" smtClean="0">
                                    <a:latin typeface="Century" panose="02040604050505020304" pitchFamily="18" charset="0"/>
                                  </a:endParaRPr>
                                </a:p>
                              </p:txBody>
                            </p:sp>
                            <p:sp>
                              <p:nvSpPr>
                                <p:cNvPr id="73" name="Round Diagonal Corner Rectangle 72"/>
                                <p:cNvSpPr/>
                                <p:nvPr/>
                              </p:nvSpPr>
                              <p:spPr>
                                <a:xfrm>
                                  <a:off x="2105241" y="839739"/>
                                  <a:ext cx="447677" cy="896152"/>
                                </a:xfrm>
                                <a:prstGeom prst="round2DiagRect">
                                  <a:avLst>
                                    <a:gd name="adj1" fmla="val 38365"/>
                                    <a:gd name="adj2" fmla="val 0"/>
                                  </a:avLst>
                                </a:prstGeom>
                                <a:solidFill>
                                  <a:schemeClr val="accent5"/>
                                </a:solidFill>
                                <a:ln>
                                  <a:solidFill>
                                    <a:schemeClr val="accent1">
                                      <a:lumMod val="50000"/>
                                    </a:schemeClr>
                                  </a:solidFill>
                                </a:ln>
                              </p:spPr>
                              <p:style>
                                <a:lnRef idx="2">
                                  <a:schemeClr val="accent6">
                                    <a:shade val="50000"/>
                                  </a:schemeClr>
                                </a:lnRef>
                                <a:fillRef idx="1">
                                  <a:schemeClr val="accent6"/>
                                </a:fillRef>
                                <a:effectRef idx="0">
                                  <a:schemeClr val="accent6"/>
                                </a:effectRef>
                                <a:fontRef idx="minor">
                                  <a:schemeClr val="lt1"/>
                                </a:fontRef>
                              </p:style>
                              <p:txBody>
                                <a:bodyPr rtlCol="0" anchor="b"/>
                                <a:lstStyle/>
                                <a:p>
                                  <a:pPr algn="ctr"/>
                                  <a:endParaRPr lang="en-US" sz="900" dirty="0">
                                    <a:latin typeface="Century" panose="02040604050505020304" pitchFamily="18" charset="0"/>
                                  </a:endParaRPr>
                                </a:p>
                              </p:txBody>
                            </p:sp>
                            <p:cxnSp>
                              <p:nvCxnSpPr>
                                <p:cNvPr id="74" name="Straight Connector 73"/>
                                <p:cNvCxnSpPr/>
                                <p:nvPr/>
                              </p:nvCxnSpPr>
                              <p:spPr>
                                <a:xfrm>
                                  <a:off x="2105245" y="1064313"/>
                                  <a:ext cx="24003" cy="1194915"/>
                                </a:xfrm>
                                <a:prstGeom prst="line">
                                  <a:avLst/>
                                </a:prstGeom>
                                <a:ln w="19050">
                                  <a:solidFill>
                                    <a:schemeClr val="accent1">
                                      <a:lumMod val="75000"/>
                                    </a:schemeClr>
                                  </a:solidFill>
                                </a:ln>
                              </p:spPr>
                              <p:style>
                                <a:lnRef idx="2">
                                  <a:schemeClr val="accent6">
                                    <a:shade val="50000"/>
                                  </a:schemeClr>
                                </a:lnRef>
                                <a:fillRef idx="1">
                                  <a:schemeClr val="accent6"/>
                                </a:fillRef>
                                <a:effectRef idx="0">
                                  <a:schemeClr val="accent6"/>
                                </a:effectRef>
                                <a:fontRef idx="minor">
                                  <a:schemeClr val="lt1"/>
                                </a:fontRef>
                              </p:style>
                            </p:cxnSp>
                            <p:grpSp>
                              <p:nvGrpSpPr>
                                <p:cNvPr id="75" name="Group 74"/>
                                <p:cNvGrpSpPr/>
                                <p:nvPr/>
                              </p:nvGrpSpPr>
                              <p:grpSpPr>
                                <a:xfrm>
                                  <a:off x="123773" y="1532336"/>
                                  <a:ext cx="1253493" cy="4221379"/>
                                  <a:chOff x="123773" y="1532336"/>
                                  <a:chExt cx="1253493" cy="4221379"/>
                                </a:xfrm>
                              </p:grpSpPr>
                              <p:grpSp>
                                <p:nvGrpSpPr>
                                  <p:cNvPr id="76" name="Group 75"/>
                                  <p:cNvGrpSpPr/>
                                  <p:nvPr/>
                                </p:nvGrpSpPr>
                                <p:grpSpPr>
                                  <a:xfrm>
                                    <a:off x="151757" y="1532336"/>
                                    <a:ext cx="1163958" cy="4221379"/>
                                    <a:chOff x="2103349" y="-1618662"/>
                                    <a:chExt cx="1974483" cy="6988728"/>
                                  </a:xfrm>
                                </p:grpSpPr>
                                <p:sp>
                                  <p:nvSpPr>
                                    <p:cNvPr id="78" name="Round Diagonal Corner Rectangle 77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2103349" y="-1618662"/>
                                      <a:ext cx="1974483" cy="3857432"/>
                                    </a:xfrm>
                                    <a:prstGeom prst="round2DiagRect">
                                      <a:avLst>
                                        <a:gd name="adj1" fmla="val 38365"/>
                                        <a:gd name="adj2" fmla="val 0"/>
                                      </a:avLst>
                                    </a:prstGeom>
                                    <a:ln/>
                                  </p:spPr>
                                  <p:style>
                                    <a:lnRef idx="2">
                                      <a:schemeClr val="accent6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6"/>
                                    </a:fillRef>
                                    <a:effectRef idx="0">
                                      <a:schemeClr val="accent6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algn="ctr"/>
                                      <a:endParaRPr lang="en-US" sz="900" dirty="0" smtClean="0">
                                        <a:latin typeface="Century" panose="02040604050505020304" pitchFamily="18" charset="0"/>
                                      </a:endParaRPr>
                                    </a:p>
                                  </p:txBody>
                                </p:sp>
                                <p:cxnSp>
                                  <p:nvCxnSpPr>
                                    <p:cNvPr id="79" name="Straight Connector 78"/>
                                    <p:cNvCxnSpPr/>
                                    <p:nvPr/>
                                  </p:nvCxnSpPr>
                                  <p:spPr>
                                    <a:xfrm flipH="1">
                                      <a:off x="2103351" y="1943822"/>
                                      <a:ext cx="11018" cy="3426244"/>
                                    </a:xfrm>
                                    <a:prstGeom prst="line">
                                      <a:avLst/>
                                    </a:prstGeom>
                                    <a:ln w="19050">
                                      <a:solidFill>
                                        <a:schemeClr val="accent6"/>
                                      </a:solidFill>
                                    </a:ln>
                                  </p:spPr>
                                  <p:style>
                                    <a:lnRef idx="2">
                                      <a:schemeClr val="accent6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6"/>
                                    </a:fillRef>
                                    <a:effectRef idx="0">
                                      <a:schemeClr val="accent6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</p:cxnSp>
                              </p:grpSp>
                              <p:sp>
                                <p:nvSpPr>
                                  <p:cNvPr id="77" name="TextBox 76"/>
                                  <p:cNvSpPr txBox="1"/>
                                  <p:nvPr/>
                                </p:nvSpPr>
                                <p:spPr>
                                  <a:xfrm>
                                    <a:off x="123773" y="1860196"/>
                                    <a:ext cx="1253493" cy="1598663"/>
                                  </a:xfrm>
                                  <a:prstGeom prst="rect">
                                    <a:avLst/>
                                  </a:prstGeom>
                                  <a:noFill/>
                                </p:spPr>
                                <p:txBody>
                                  <a:bodyPr wrap="square" rtlCol="0">
                                    <a:spAutoFit/>
                                  </a:bodyPr>
                                  <a:lstStyle/>
                                  <a:p>
                                    <a:pPr algn="ctr"/>
                                    <a:r>
                                      <a:rPr lang="en-US" b="1" dirty="0" smtClean="0">
                                        <a:solidFill>
                                          <a:schemeClr val="bg1"/>
                                        </a:solidFill>
                                        <a:latin typeface="Century" panose="02040604050505020304" pitchFamily="18" charset="0"/>
                                      </a:rPr>
                                      <a:t>Milestone 1</a:t>
                                    </a:r>
                                  </a:p>
                                  <a:p>
                                    <a:pPr algn="ctr"/>
                                    <a:endParaRPr lang="en-US" sz="1600" dirty="0">
                                      <a:solidFill>
                                        <a:schemeClr val="bg1"/>
                                      </a:solidFill>
                                      <a:latin typeface="Century" panose="02040604050505020304" pitchFamily="18" charset="0"/>
                                    </a:endParaRPr>
                                  </a:p>
                                  <a:p>
                                    <a:pPr algn="ctr"/>
                                    <a:r>
                                      <a:rPr lang="en-US" sz="1600" dirty="0" smtClean="0">
                                        <a:solidFill>
                                          <a:schemeClr val="bg1"/>
                                        </a:solidFill>
                                        <a:latin typeface="Century" panose="02040604050505020304" pitchFamily="18" charset="0"/>
                                      </a:rPr>
                                      <a:t>Topic Submission</a:t>
                                    </a:r>
                                    <a:endParaRPr lang="en-US" sz="1600" dirty="0">
                                      <a:solidFill>
                                        <a:schemeClr val="bg1"/>
                                      </a:solidFill>
                                      <a:latin typeface="Century" panose="02040604050505020304" pitchFamily="18" charset="0"/>
                                    </a:endParaRPr>
                                  </a:p>
                                </p:txBody>
                              </p:sp>
                            </p:grpSp>
                          </p:grpSp>
                          <p:sp>
                            <p:nvSpPr>
                              <p:cNvPr id="69" name="TextBox 68"/>
                              <p:cNvSpPr txBox="1"/>
                              <p:nvPr/>
                            </p:nvSpPr>
                            <p:spPr>
                              <a:xfrm>
                                <a:off x="4664987" y="1259141"/>
                                <a:ext cx="984113" cy="1055721"/>
                              </a:xfrm>
                              <a:prstGeom prst="rect">
                                <a:avLst/>
                              </a:prstGeom>
                              <a:noFill/>
                            </p:spPr>
                            <p:txBody>
                              <a:bodyPr wrap="square" rtlCol="0">
                                <a:spAutoFit/>
                              </a:bodyPr>
                              <a:lstStyle/>
                              <a:p>
                                <a:pPr algn="ctr"/>
                                <a:r>
                                  <a:rPr lang="en-US" sz="1400" b="1" dirty="0" smtClean="0">
                                    <a:solidFill>
                                      <a:schemeClr val="bg1"/>
                                    </a:solidFill>
                                    <a:latin typeface="Century" panose="02040604050505020304" pitchFamily="18" charset="0"/>
                                  </a:rPr>
                                  <a:t>Milestone 2</a:t>
                                </a:r>
                              </a:p>
                              <a:p>
                                <a:pPr algn="ctr"/>
                                <a:endParaRPr lang="en-US" sz="1200" dirty="0">
                                  <a:solidFill>
                                    <a:schemeClr val="bg1"/>
                                  </a:solidFill>
                                  <a:latin typeface="Century" panose="02040604050505020304" pitchFamily="18" charset="0"/>
                                </a:endParaRPr>
                              </a:p>
                              <a:p>
                                <a:pPr algn="ctr"/>
                                <a:r>
                                  <a:rPr lang="en-US" sz="1200" dirty="0" smtClean="0">
                                    <a:solidFill>
                                      <a:schemeClr val="bg1"/>
                                    </a:solidFill>
                                    <a:latin typeface="Century" panose="02040604050505020304" pitchFamily="18" charset="0"/>
                                  </a:rPr>
                                  <a:t>Wait n Watch....</a:t>
                                </a:r>
                                <a:endParaRPr lang="en-US" sz="1200" dirty="0">
                                  <a:solidFill>
                                    <a:schemeClr val="bg1"/>
                                  </a:solidFill>
                                  <a:latin typeface="Century" panose="02040604050505020304" pitchFamily="18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70" name="TextBox 69"/>
                              <p:cNvSpPr txBox="1"/>
                              <p:nvPr/>
                            </p:nvSpPr>
                            <p:spPr>
                              <a:xfrm>
                                <a:off x="3335892" y="1064381"/>
                                <a:ext cx="805818" cy="716922"/>
                              </a:xfrm>
                              <a:prstGeom prst="rect">
                                <a:avLst/>
                              </a:prstGeom>
                              <a:noFill/>
                            </p:spPr>
                            <p:txBody>
                              <a:bodyPr wrap="square" rtlCol="0">
                                <a:spAutoFit/>
                              </a:bodyPr>
                              <a:lstStyle/>
                              <a:p>
                                <a:pPr algn="ctr"/>
                                <a:r>
                                  <a:rPr lang="en-US" sz="1000" b="1" dirty="0" smtClean="0">
                                    <a:solidFill>
                                      <a:schemeClr val="bg1"/>
                                    </a:solidFill>
                                    <a:latin typeface="Century" panose="02040604050505020304" pitchFamily="18" charset="0"/>
                                  </a:rPr>
                                  <a:t>Milestone 3</a:t>
                                </a:r>
                              </a:p>
                              <a:p>
                                <a:pPr algn="ctr"/>
                                <a:endParaRPr lang="en-US" sz="900" dirty="0">
                                  <a:solidFill>
                                    <a:schemeClr val="bg1"/>
                                  </a:solidFill>
                                  <a:latin typeface="Century" panose="02040604050505020304" pitchFamily="18" charset="0"/>
                                </a:endParaRPr>
                              </a:p>
                              <a:p>
                                <a:pPr algn="ctr"/>
                                <a:r>
                                  <a:rPr lang="en-US" sz="900" dirty="0" smtClean="0">
                                    <a:solidFill>
                                      <a:schemeClr val="bg1"/>
                                    </a:solidFill>
                                    <a:latin typeface="Century" panose="02040604050505020304" pitchFamily="18" charset="0"/>
                                  </a:rPr>
                                  <a:t>Wait n Watch....</a:t>
                                </a:r>
                                <a:endParaRPr lang="en-US" sz="900" dirty="0">
                                  <a:solidFill>
                                    <a:schemeClr val="bg1"/>
                                  </a:solidFill>
                                  <a:latin typeface="Century" panose="02040604050505020304" pitchFamily="18" charset="0"/>
                                </a:endParaRPr>
                              </a:p>
                            </p:txBody>
                          </p:sp>
                        </p:grpSp>
                        <p:pic>
                          <p:nvPicPr>
                            <p:cNvPr id="67" name="Picture 66"/>
                            <p:cNvPicPr>
                              <a:picLocks noChangeAspect="1"/>
                            </p:cNvPicPr>
                            <p:nvPr/>
                          </p:nvPicPr>
                          <p:blipFill>
                            <a:blip r:embed="rId3" cstate="print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tretch>
                              <a:fillRect/>
                            </a:stretch>
                          </p:blipFill>
                          <p:spPr>
                            <a:xfrm>
                              <a:off x="2300590" y="818694"/>
                              <a:ext cx="413639" cy="703423"/>
                            </a:xfrm>
                            <a:prstGeom prst="rect">
                              <a:avLst/>
                            </a:prstGeom>
                          </p:spPr>
                        </p:pic>
                      </p:grpSp>
                      <p:grpSp>
                        <p:nvGrpSpPr>
                          <p:cNvPr id="62" name="Group 61"/>
                          <p:cNvGrpSpPr/>
                          <p:nvPr/>
                        </p:nvGrpSpPr>
                        <p:grpSpPr>
                          <a:xfrm>
                            <a:off x="2414408" y="1613925"/>
                            <a:ext cx="387655" cy="527903"/>
                            <a:chOff x="3857164" y="1132786"/>
                            <a:chExt cx="387655" cy="527903"/>
                          </a:xfrm>
                          <a:scene3d>
                            <a:camera prst="perspectiveContrastingLeftFacing"/>
                            <a:lightRig rig="threePt" dir="t"/>
                          </a:scene3d>
                        </p:grpSpPr>
                        <p:cxnSp>
                          <p:nvCxnSpPr>
                            <p:cNvPr id="63" name="Straight Arrow Connector 62"/>
                            <p:cNvCxnSpPr/>
                            <p:nvPr/>
                          </p:nvCxnSpPr>
                          <p:spPr>
                            <a:xfrm flipV="1">
                              <a:off x="3857164" y="1132786"/>
                              <a:ext cx="0" cy="526274"/>
                            </a:xfrm>
                            <a:prstGeom prst="straightConnector1">
                              <a:avLst/>
                            </a:prstGeom>
                            <a:ln>
                              <a:solidFill>
                                <a:srgbClr val="C00000"/>
                              </a:solidFill>
                              <a:tailEnd type="triangle"/>
                            </a:ln>
                          </p:spPr>
                          <p:style>
                            <a:lnRef idx="1">
                              <a:schemeClr val="accent1"/>
                            </a:lnRef>
                            <a:fillRef idx="0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tx1"/>
                            </a:fontRef>
                          </p:style>
                        </p:cxnSp>
                        <p:cxnSp>
                          <p:nvCxnSpPr>
                            <p:cNvPr id="64" name="Straight Arrow Connector 63"/>
                            <p:cNvCxnSpPr/>
                            <p:nvPr/>
                          </p:nvCxnSpPr>
                          <p:spPr>
                            <a:xfrm flipV="1">
                              <a:off x="4244819" y="1134416"/>
                              <a:ext cx="0" cy="526273"/>
                            </a:xfrm>
                            <a:prstGeom prst="straightConnector1">
                              <a:avLst/>
                            </a:prstGeom>
                            <a:ln>
                              <a:solidFill>
                                <a:srgbClr val="C00000"/>
                              </a:solidFill>
                              <a:tailEnd type="triangle"/>
                            </a:ln>
                          </p:spPr>
                          <p:style>
                            <a:lnRef idx="1">
                              <a:schemeClr val="accent1"/>
                            </a:lnRef>
                            <a:fillRef idx="0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tx1"/>
                            </a:fontRef>
                          </p:style>
                        </p:cxnSp>
                        <p:sp>
                          <p:nvSpPr>
                            <p:cNvPr id="65" name="Wave 64"/>
                            <p:cNvSpPr/>
                            <p:nvPr/>
                          </p:nvSpPr>
                          <p:spPr>
                            <a:xfrm>
                              <a:off x="3878733" y="1214365"/>
                              <a:ext cx="366074" cy="153009"/>
                            </a:xfrm>
                            <a:prstGeom prst="wave">
                              <a:avLst/>
                            </a:prstGeom>
                            <a:solidFill>
                              <a:srgbClr val="FF0000"/>
                            </a:solidFill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r>
                                <a:rPr lang="en-US" sz="500" dirty="0" smtClean="0">
                                  <a:latin typeface="Andalus" panose="02020603050405020304" pitchFamily="18" charset="-78"/>
                                  <a:cs typeface="Andalus" panose="02020603050405020304" pitchFamily="18" charset="-78"/>
                                </a:rPr>
                                <a:t>FINISH</a:t>
                              </a:r>
                              <a:endParaRPr lang="en-US" sz="500" dirty="0">
                                <a:latin typeface="Andalus" panose="02020603050405020304" pitchFamily="18" charset="-78"/>
                                <a:cs typeface="Andalus" panose="02020603050405020304" pitchFamily="18" charset="-78"/>
                              </a:endParaRPr>
                            </a:p>
                          </p:txBody>
                        </p:sp>
                      </p:grpSp>
                    </p:grpSp>
                    <p:pic>
                      <p:nvPicPr>
                        <p:cNvPr id="60" name="Picture 59"/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" cstate="print">
                          <a:clrChange>
                            <a:clrFrom>
                              <a:srgbClr val="FFFFFF"/>
                            </a:clrFrom>
                            <a:clrTo>
                              <a:srgbClr val="FFFFFF">
                                <a:alpha val="0"/>
                              </a:srgbClr>
                            </a:clrTo>
                          </a:clrChange>
                          <a:duotone>
                            <a:schemeClr val="accent2">
                              <a:shade val="45000"/>
                              <a:satMod val="135000"/>
                            </a:schemeClr>
                            <a:prstClr val="white"/>
                          </a:duotone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>
                        <a:xfrm flipH="1">
                          <a:off x="2228476" y="1786189"/>
                          <a:ext cx="462559" cy="471379"/>
                        </a:xfrm>
                        <a:prstGeom prst="rect">
                          <a:avLst/>
                        </a:prstGeom>
                      </p:spPr>
                    </p:pic>
                  </p:grpSp>
                  <p:cxnSp>
                    <p:nvCxnSpPr>
                      <p:cNvPr id="58" name="Straight Connector 57"/>
                      <p:cNvCxnSpPr/>
                      <p:nvPr/>
                    </p:nvCxnSpPr>
                    <p:spPr>
                      <a:xfrm>
                        <a:off x="7711463" y="2002296"/>
                        <a:ext cx="23279" cy="990223"/>
                      </a:xfrm>
                      <a:prstGeom prst="line">
                        <a:avLst/>
                      </a:prstGeom>
                      <a:ln w="19050">
                        <a:solidFill>
                          <a:schemeClr val="accent2"/>
                        </a:solidFill>
                      </a:ln>
                    </p:spPr>
                    <p:style>
                      <a:lnRef idx="2">
                        <a:schemeClr val="accent6">
                          <a:shade val="50000"/>
                        </a:schemeClr>
                      </a:lnRef>
                      <a:fillRef idx="1">
                        <a:schemeClr val="accent6"/>
                      </a:fillRef>
                      <a:effectRef idx="0">
                        <a:schemeClr val="accent6"/>
                      </a:effectRef>
                      <a:fontRef idx="minor">
                        <a:schemeClr val="lt1"/>
                      </a:fontRef>
                    </p:style>
                  </p:cxnSp>
                </p:grpSp>
                <p:sp>
                  <p:nvSpPr>
                    <p:cNvPr id="49" name="TextBox 48"/>
                    <p:cNvSpPr txBox="1"/>
                    <p:nvPr/>
                  </p:nvSpPr>
                  <p:spPr>
                    <a:xfrm>
                      <a:off x="6325801" y="1445276"/>
                      <a:ext cx="595592" cy="215444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/>
                      <a:r>
                        <a:rPr lang="en-US" sz="800" dirty="0" smtClean="0">
                          <a:solidFill>
                            <a:schemeClr val="bg1"/>
                          </a:solidFill>
                          <a:latin typeface="Century" panose="02040604050505020304" pitchFamily="18" charset="0"/>
                        </a:rPr>
                        <a:t>Winner</a:t>
                      </a:r>
                      <a:endParaRPr lang="en-US" sz="800" dirty="0">
                        <a:solidFill>
                          <a:schemeClr val="bg1"/>
                        </a:solidFill>
                        <a:latin typeface="Century" panose="02040604050505020304" pitchFamily="18" charset="0"/>
                      </a:endParaRPr>
                    </a:p>
                  </p:txBody>
                </p:sp>
                <p:cxnSp>
                  <p:nvCxnSpPr>
                    <p:cNvPr id="50" name="Curved Connector 49"/>
                    <p:cNvCxnSpPr/>
                    <p:nvPr/>
                  </p:nvCxnSpPr>
                  <p:spPr>
                    <a:xfrm rot="16200000" flipV="1">
                      <a:off x="3578800" y="1475680"/>
                      <a:ext cx="990705" cy="606108"/>
                    </a:xfrm>
                    <a:prstGeom prst="curvedConnector3">
                      <a:avLst/>
                    </a:prstGeom>
                    <a:ln>
                      <a:solidFill>
                        <a:schemeClr val="accent6"/>
                      </a:solidFill>
                      <a:tailEnd type="triangle"/>
                    </a:ln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51" name="Pentagon 50"/>
                    <p:cNvSpPr/>
                    <p:nvPr/>
                  </p:nvSpPr>
                  <p:spPr>
                    <a:xfrm flipH="1">
                      <a:off x="715367" y="1961285"/>
                      <a:ext cx="3028956" cy="774177"/>
                    </a:xfrm>
                    <a:prstGeom prst="homePlate">
                      <a:avLst/>
                    </a:prstGeom>
                    <a:solidFill>
                      <a:srgbClr val="92D050"/>
                    </a:solidFill>
                    <a:ln>
                      <a:solidFill>
                        <a:schemeClr val="accent6"/>
                      </a:solidFill>
                    </a:ln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  <p:sp>
                  <p:nvSpPr>
                    <p:cNvPr id="52" name="Pentagon 51"/>
                    <p:cNvSpPr/>
                    <p:nvPr/>
                  </p:nvSpPr>
                  <p:spPr>
                    <a:xfrm flipH="1">
                      <a:off x="721911" y="2982988"/>
                      <a:ext cx="3028956" cy="774177"/>
                    </a:xfrm>
                    <a:prstGeom prst="homePlate">
                      <a:avLst/>
                    </a:prstGeom>
                    <a:solidFill>
                      <a:srgbClr val="92D050"/>
                    </a:solidFill>
                    <a:ln>
                      <a:solidFill>
                        <a:schemeClr val="accent6"/>
                      </a:solidFill>
                    </a:ln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  <p:sp>
                  <p:nvSpPr>
                    <p:cNvPr id="53" name="Pentagon 52"/>
                    <p:cNvSpPr/>
                    <p:nvPr/>
                  </p:nvSpPr>
                  <p:spPr>
                    <a:xfrm flipH="1">
                      <a:off x="743778" y="4030662"/>
                      <a:ext cx="3028956" cy="774177"/>
                    </a:xfrm>
                    <a:prstGeom prst="homePlate">
                      <a:avLst/>
                    </a:prstGeom>
                    <a:solidFill>
                      <a:srgbClr val="92D050"/>
                    </a:solidFill>
                    <a:ln>
                      <a:solidFill>
                        <a:schemeClr val="accent6"/>
                      </a:solidFill>
                    </a:ln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  <p:cxnSp>
                  <p:nvCxnSpPr>
                    <p:cNvPr id="54" name="Curved Connector 53"/>
                    <p:cNvCxnSpPr/>
                    <p:nvPr/>
                  </p:nvCxnSpPr>
                  <p:spPr>
                    <a:xfrm rot="5400000">
                      <a:off x="3577747" y="3668328"/>
                      <a:ext cx="990705" cy="606108"/>
                    </a:xfrm>
                    <a:prstGeom prst="curvedConnector3">
                      <a:avLst/>
                    </a:prstGeom>
                    <a:ln>
                      <a:solidFill>
                        <a:schemeClr val="accent6"/>
                      </a:solidFill>
                      <a:tailEnd type="triangle"/>
                    </a:ln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55" name="Curved Connector 54"/>
                    <p:cNvCxnSpPr/>
                    <p:nvPr/>
                  </p:nvCxnSpPr>
                  <p:spPr>
                    <a:xfrm rot="10800000">
                      <a:off x="3744323" y="2141901"/>
                      <a:ext cx="631514" cy="532763"/>
                    </a:xfrm>
                    <a:prstGeom prst="curvedConnector3">
                      <a:avLst/>
                    </a:prstGeom>
                    <a:ln>
                      <a:solidFill>
                        <a:schemeClr val="accent6"/>
                      </a:solidFill>
                      <a:tailEnd type="triangle"/>
                    </a:ln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56" name="Curved Connector 55"/>
                    <p:cNvCxnSpPr/>
                    <p:nvPr/>
                  </p:nvCxnSpPr>
                  <p:spPr>
                    <a:xfrm rot="10800000" flipV="1">
                      <a:off x="3757235" y="2947485"/>
                      <a:ext cx="605600" cy="479973"/>
                    </a:xfrm>
                    <a:prstGeom prst="curvedConnector3">
                      <a:avLst/>
                    </a:prstGeom>
                    <a:ln>
                      <a:solidFill>
                        <a:schemeClr val="accent6"/>
                      </a:solidFill>
                      <a:tailEnd type="triangle"/>
                    </a:ln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sp>
                <p:nvSpPr>
                  <p:cNvPr id="43" name="TextBox 42"/>
                  <p:cNvSpPr txBox="1"/>
                  <p:nvPr/>
                </p:nvSpPr>
                <p:spPr>
                  <a:xfrm>
                    <a:off x="1040769" y="1162866"/>
                    <a:ext cx="2501447" cy="707886"/>
                  </a:xfrm>
                  <a:prstGeom prst="rect">
                    <a:avLst/>
                  </a:prstGeom>
                  <a:noFill/>
                </p:spPr>
                <p:txBody>
                  <a:bodyPr wrap="square" rtlCol="0" anchor="ctr">
                    <a:spAutoFit/>
                  </a:bodyPr>
                  <a:lstStyle/>
                  <a:p>
                    <a:pPr algn="ctr"/>
                    <a:r>
                      <a:rPr lang="en-US" sz="1600" b="1" u="sng" dirty="0" smtClean="0">
                        <a:solidFill>
                          <a:srgbClr val="F7F7F7"/>
                        </a:solidFill>
                      </a:rPr>
                      <a:t>Step 1</a:t>
                    </a:r>
                    <a:r>
                      <a:rPr lang="en-US" sz="1400" dirty="0" smtClean="0">
                        <a:solidFill>
                          <a:srgbClr val="F7F7F7"/>
                        </a:solidFill>
                      </a:rPr>
                      <a:t>: </a:t>
                    </a:r>
                  </a:p>
                  <a:p>
                    <a:r>
                      <a:rPr lang="en-US" sz="1200" dirty="0" smtClean="0">
                        <a:solidFill>
                          <a:srgbClr val="F7F7F7"/>
                        </a:solidFill>
                        <a:latin typeface="Century" panose="02040604050505020304" pitchFamily="18" charset="0"/>
                        <a:cs typeface="Arial" panose="020B0604020202020204" pitchFamily="34" charset="0"/>
                      </a:rPr>
                      <a:t>Form </a:t>
                    </a:r>
                    <a:r>
                      <a:rPr lang="en-US" sz="1200" dirty="0">
                        <a:solidFill>
                          <a:srgbClr val="F7F7F7"/>
                        </a:solidFill>
                        <a:latin typeface="Century" panose="02040604050505020304" pitchFamily="18" charset="0"/>
                        <a:cs typeface="Arial" panose="020B0604020202020204" pitchFamily="34" charset="0"/>
                      </a:rPr>
                      <a:t>teams of up to 4 associates (individual entries accepted</a:t>
                    </a:r>
                    <a:r>
                      <a:rPr lang="en-US" sz="1200" dirty="0" smtClean="0">
                        <a:solidFill>
                          <a:srgbClr val="F7F7F7"/>
                        </a:solidFill>
                        <a:latin typeface="Century" panose="02040604050505020304" pitchFamily="18" charset="0"/>
                        <a:cs typeface="Arial" panose="020B0604020202020204" pitchFamily="34" charset="0"/>
                      </a:rPr>
                      <a:t>)</a:t>
                    </a:r>
                    <a:endParaRPr lang="en-US" sz="1400" dirty="0"/>
                  </a:p>
                </p:txBody>
              </p:sp>
              <p:sp>
                <p:nvSpPr>
                  <p:cNvPr id="44" name="TextBox 43"/>
                  <p:cNvSpPr txBox="1"/>
                  <p:nvPr/>
                </p:nvSpPr>
                <p:spPr>
                  <a:xfrm>
                    <a:off x="1043669" y="2179573"/>
                    <a:ext cx="2364782" cy="670953"/>
                  </a:xfrm>
                  <a:prstGeom prst="rect">
                    <a:avLst/>
                  </a:prstGeom>
                  <a:noFill/>
                </p:spPr>
                <p:txBody>
                  <a:bodyPr wrap="square" rtlCol="0" anchor="ctr">
                    <a:spAutoFit/>
                  </a:bodyPr>
                  <a:lstStyle/>
                  <a:p>
                    <a:pPr algn="ctr"/>
                    <a:r>
                      <a:rPr lang="en-US" sz="1600" b="1" u="sng" dirty="0" smtClean="0">
                        <a:solidFill>
                          <a:srgbClr val="F7F7F7"/>
                        </a:solidFill>
                      </a:rPr>
                      <a:t>Step 2</a:t>
                    </a:r>
                    <a:r>
                      <a:rPr lang="en-US" sz="1400" dirty="0" smtClean="0">
                        <a:solidFill>
                          <a:srgbClr val="F7F7F7"/>
                        </a:solidFill>
                      </a:rPr>
                      <a:t>: </a:t>
                    </a:r>
                  </a:p>
                  <a:p>
                    <a:pPr lvl="0" algn="ctr" defTabSz="8890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</a:pPr>
                    <a:r>
                      <a:rPr lang="en-US" sz="1200" dirty="0" smtClean="0">
                        <a:solidFill>
                          <a:srgbClr val="F7F7F7"/>
                        </a:solidFill>
                        <a:latin typeface="Century" panose="02040604050505020304" pitchFamily="18" charset="0"/>
                        <a:cs typeface="Arial" panose="020B0604020202020204" pitchFamily="34" charset="0"/>
                      </a:rPr>
                      <a:t>Nominate a primary Correspondent</a:t>
                    </a:r>
                    <a:endParaRPr lang="en-US" sz="1200" dirty="0">
                      <a:solidFill>
                        <a:srgbClr val="F7F7F7"/>
                      </a:solidFill>
                      <a:latin typeface="Century" panose="02040604050505020304" pitchFamily="18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45" name="TextBox 44"/>
                  <p:cNvSpPr txBox="1"/>
                  <p:nvPr/>
                </p:nvSpPr>
                <p:spPr>
                  <a:xfrm>
                    <a:off x="959508" y="3231084"/>
                    <a:ext cx="2445756" cy="738664"/>
                  </a:xfrm>
                  <a:prstGeom prst="rect">
                    <a:avLst/>
                  </a:prstGeom>
                  <a:noFill/>
                </p:spPr>
                <p:txBody>
                  <a:bodyPr wrap="square" rtlCol="0" anchor="ctr">
                    <a:spAutoFit/>
                  </a:bodyPr>
                  <a:lstStyle/>
                  <a:p>
                    <a:pPr algn="ctr"/>
                    <a:r>
                      <a:rPr lang="en-US" sz="1600" b="1" u="sng" dirty="0" smtClean="0">
                        <a:solidFill>
                          <a:srgbClr val="F7F7F7"/>
                        </a:solidFill>
                      </a:rPr>
                      <a:t>Step 3</a:t>
                    </a:r>
                    <a:r>
                      <a:rPr lang="en-US" sz="1400" dirty="0" smtClean="0">
                        <a:solidFill>
                          <a:srgbClr val="F7F7F7"/>
                        </a:solidFill>
                      </a:rPr>
                      <a:t>: </a:t>
                    </a:r>
                  </a:p>
                  <a:p>
                    <a:r>
                      <a:rPr lang="en-US" sz="1200" dirty="0" smtClean="0">
                        <a:solidFill>
                          <a:srgbClr val="F7F7F7"/>
                        </a:solidFill>
                        <a:latin typeface="Century" panose="02040604050505020304" pitchFamily="18" charset="0"/>
                        <a:cs typeface="Arial" panose="020B0604020202020204" pitchFamily="34" charset="0"/>
                      </a:rPr>
                      <a:t>Select a topic pertinent to MES</a:t>
                    </a:r>
                    <a:endParaRPr lang="en-US" sz="1200" dirty="0">
                      <a:solidFill>
                        <a:srgbClr val="F7F7F7"/>
                      </a:solidFill>
                      <a:latin typeface="Century" panose="02040604050505020304" pitchFamily="18" charset="0"/>
                      <a:cs typeface="Arial" panose="020B0604020202020204" pitchFamily="34" charset="0"/>
                    </a:endParaRPr>
                  </a:p>
                  <a:p>
                    <a:endParaRPr lang="en-US" sz="1400" dirty="0">
                      <a:solidFill>
                        <a:srgbClr val="F7F7F7"/>
                      </a:solidFill>
                    </a:endParaRPr>
                  </a:p>
                </p:txBody>
              </p:sp>
              <p:sp>
                <p:nvSpPr>
                  <p:cNvPr id="46" name="TextBox 45"/>
                  <p:cNvSpPr txBox="1"/>
                  <p:nvPr/>
                </p:nvSpPr>
                <p:spPr>
                  <a:xfrm>
                    <a:off x="1074772" y="4207376"/>
                    <a:ext cx="2158594" cy="707886"/>
                  </a:xfrm>
                  <a:prstGeom prst="rect">
                    <a:avLst/>
                  </a:prstGeom>
                  <a:noFill/>
                </p:spPr>
                <p:txBody>
                  <a:bodyPr wrap="square" rtlCol="0" anchor="ctr">
                    <a:spAutoFit/>
                  </a:bodyPr>
                  <a:lstStyle/>
                  <a:p>
                    <a:pPr algn="ctr"/>
                    <a:r>
                      <a:rPr lang="en-US" sz="1600" b="1" u="sng" dirty="0" smtClean="0">
                        <a:solidFill>
                          <a:srgbClr val="F7F7F7"/>
                        </a:solidFill>
                      </a:rPr>
                      <a:t>Step 4</a:t>
                    </a:r>
                    <a:r>
                      <a:rPr lang="en-US" sz="1400" dirty="0" smtClean="0">
                        <a:solidFill>
                          <a:srgbClr val="F7F7F7"/>
                        </a:solidFill>
                      </a:rPr>
                      <a:t>: </a:t>
                    </a:r>
                  </a:p>
                  <a:p>
                    <a:pPr algn="ctr"/>
                    <a:r>
                      <a:rPr lang="en-US" sz="1200" dirty="0" smtClean="0">
                        <a:solidFill>
                          <a:srgbClr val="F7F7F7"/>
                        </a:solidFill>
                        <a:latin typeface="Century" panose="02040604050505020304" pitchFamily="18" charset="0"/>
                        <a:cs typeface="Arial" panose="020B0604020202020204" pitchFamily="34" charset="0"/>
                      </a:rPr>
                      <a:t>Submit your topic by</a:t>
                    </a:r>
                  </a:p>
                  <a:p>
                    <a:pPr algn="ctr"/>
                    <a:r>
                      <a:rPr lang="en-US" sz="1200" dirty="0" smtClean="0">
                        <a:solidFill>
                          <a:srgbClr val="F7F7F7"/>
                        </a:solidFill>
                        <a:latin typeface="Century" panose="02040604050505020304" pitchFamily="18" charset="0"/>
                        <a:cs typeface="Arial" panose="020B0604020202020204" pitchFamily="34" charset="0"/>
                      </a:rPr>
                      <a:t> 31</a:t>
                    </a:r>
                    <a:r>
                      <a:rPr lang="en-US" sz="1200" baseline="30000" dirty="0" smtClean="0">
                        <a:solidFill>
                          <a:srgbClr val="F7F7F7"/>
                        </a:solidFill>
                        <a:latin typeface="Century" panose="02040604050505020304" pitchFamily="18" charset="0"/>
                        <a:cs typeface="Arial" panose="020B0604020202020204" pitchFamily="34" charset="0"/>
                      </a:rPr>
                      <a:t>st</a:t>
                    </a:r>
                    <a:r>
                      <a:rPr lang="en-US" sz="1200" dirty="0" smtClean="0">
                        <a:solidFill>
                          <a:srgbClr val="F7F7F7"/>
                        </a:solidFill>
                        <a:latin typeface="Century" panose="02040604050505020304" pitchFamily="18" charset="0"/>
                        <a:cs typeface="Arial" panose="020B0604020202020204" pitchFamily="34" charset="0"/>
                      </a:rPr>
                      <a:t> July, 2017</a:t>
                    </a:r>
                    <a:endParaRPr lang="en-US" sz="1400" dirty="0">
                      <a:solidFill>
                        <a:srgbClr val="F7F7F7"/>
                      </a:solidFill>
                    </a:endParaRPr>
                  </a:p>
                </p:txBody>
              </p:sp>
            </p:grpSp>
            <p:pic>
              <p:nvPicPr>
                <p:cNvPr id="82" name="Picture 81"/>
                <p:cNvPicPr>
                  <a:picLocks noChangeAspect="1"/>
                </p:cNvPicPr>
                <p:nvPr/>
              </p:nvPicPr>
              <p:blipFill>
                <a:blip r:embed="rId5" cstate="print">
                  <a:biLevel thresh="7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6111" y="1199978"/>
                  <a:ext cx="533847" cy="539295"/>
                </a:xfrm>
                <a:prstGeom prst="rect">
                  <a:avLst/>
                </a:prstGeom>
              </p:spPr>
            </p:pic>
            <p:pic>
              <p:nvPicPr>
                <p:cNvPr id="83" name="Picture 82"/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08138" y="2246622"/>
                  <a:ext cx="530352" cy="530352"/>
                </a:xfrm>
                <a:prstGeom prst="rect">
                  <a:avLst/>
                </a:prstGeom>
              </p:spPr>
            </p:pic>
            <p:pic>
              <p:nvPicPr>
                <p:cNvPr id="84" name="Picture 83"/>
                <p:cNvPicPr>
                  <a:picLocks noChangeAspect="1"/>
                </p:cNvPicPr>
                <p:nvPr/>
              </p:nvPicPr>
              <p:blipFill>
                <a:blip r:embed="rId7">
                  <a:biLevel thresh="7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6917" y="3271284"/>
                  <a:ext cx="548640" cy="548640"/>
                </a:xfrm>
                <a:prstGeom prst="rect">
                  <a:avLst/>
                </a:prstGeom>
              </p:spPr>
            </p:pic>
            <p:pic>
              <p:nvPicPr>
                <p:cNvPr id="85" name="Picture 84"/>
                <p:cNvPicPr>
                  <a:picLocks noChangeAspect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98994" y="4321338"/>
                  <a:ext cx="539496" cy="539496"/>
                </a:xfrm>
                <a:prstGeom prst="rect">
                  <a:avLst/>
                </a:prstGeom>
              </p:spPr>
            </p:pic>
          </p:grpSp>
          <p:sp>
            <p:nvSpPr>
              <p:cNvPr id="87" name="TextBox 86"/>
              <p:cNvSpPr txBox="1"/>
              <p:nvPr/>
            </p:nvSpPr>
            <p:spPr>
              <a:xfrm>
                <a:off x="346591" y="194231"/>
                <a:ext cx="9573310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44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" panose="02040604050505020304" pitchFamily="18" charset="0"/>
                    <a:cs typeface="Arial" panose="020B0604020202020204" pitchFamily="34" charset="0"/>
                  </a:rPr>
                  <a:t>MES Whitepaper Challenge 2017</a:t>
                </a:r>
                <a:endParaRPr lang="en-US" sz="4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" panose="02040604050505020304" pitchFamily="18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90" name="Group 89"/>
              <p:cNvGrpSpPr/>
              <p:nvPr/>
            </p:nvGrpSpPr>
            <p:grpSpPr>
              <a:xfrm>
                <a:off x="9670970" y="93147"/>
                <a:ext cx="2428843" cy="1678130"/>
                <a:chOff x="-61284" y="143688"/>
                <a:chExt cx="2483796" cy="1702359"/>
              </a:xfrm>
            </p:grpSpPr>
            <p:pic>
              <p:nvPicPr>
                <p:cNvPr id="91" name="Picture 90"/>
                <p:cNvPicPr>
                  <a:picLocks noChangeAspect="1"/>
                </p:cNvPicPr>
                <p:nvPr/>
              </p:nvPicPr>
              <p:blipFill rotWithShape="1">
                <a:blip r:embed="rId9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-1" r="714" b="7696"/>
                <a:stretch/>
              </p:blipFill>
              <p:spPr>
                <a:xfrm>
                  <a:off x="179223" y="143688"/>
                  <a:ext cx="1918731" cy="1385669"/>
                </a:xfrm>
                <a:prstGeom prst="rect">
                  <a:avLst/>
                </a:prstGeom>
              </p:spPr>
            </p:pic>
            <p:sp>
              <p:nvSpPr>
                <p:cNvPr id="92" name="TextBox 91"/>
                <p:cNvSpPr txBox="1"/>
                <p:nvPr/>
              </p:nvSpPr>
              <p:spPr>
                <a:xfrm>
                  <a:off x="-61284" y="1415160"/>
                  <a:ext cx="2483796" cy="43088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i="1" dirty="0" smtClean="0">
                      <a:solidFill>
                        <a:srgbClr val="0070C0"/>
                      </a:solidFill>
                      <a:latin typeface="Century" panose="02040604050505020304" pitchFamily="18" charset="0"/>
                    </a:rPr>
                    <a:t>Time to wear your writer’s cap &amp; pen down your thoughts</a:t>
                  </a:r>
                  <a:endParaRPr lang="en-US" sz="1100" i="1" dirty="0">
                    <a:solidFill>
                      <a:srgbClr val="0070C0"/>
                    </a:solidFill>
                    <a:latin typeface="Century" panose="02040604050505020304" pitchFamily="18" charset="0"/>
                  </a:endParaRPr>
                </a:p>
              </p:txBody>
            </p:sp>
          </p:grpSp>
          <p:grpSp>
            <p:nvGrpSpPr>
              <p:cNvPr id="93" name="Group 92"/>
              <p:cNvGrpSpPr/>
              <p:nvPr/>
            </p:nvGrpSpPr>
            <p:grpSpPr>
              <a:xfrm>
                <a:off x="10337191" y="2202553"/>
                <a:ext cx="1500604" cy="1537093"/>
                <a:chOff x="10447099" y="2187824"/>
                <a:chExt cx="1500604" cy="1537093"/>
              </a:xfrm>
            </p:grpSpPr>
            <p:sp>
              <p:nvSpPr>
                <p:cNvPr id="94" name="Bevel 93">
                  <a:hlinkClick r:id="rId10"/>
                </p:cNvPr>
                <p:cNvSpPr/>
                <p:nvPr/>
              </p:nvSpPr>
              <p:spPr>
                <a:xfrm>
                  <a:off x="10486856" y="3223246"/>
                  <a:ext cx="1394490" cy="501671"/>
                </a:xfrm>
                <a:prstGeom prst="bevel">
                  <a:avLst/>
                </a:prstGeom>
                <a:solidFill>
                  <a:srgbClr val="D7D7D7"/>
                </a:solidFill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pic>
              <p:nvPicPr>
                <p:cNvPr id="95" name="Picture 94"/>
                <p:cNvPicPr>
                  <a:picLocks noChangeAspect="1"/>
                </p:cNvPicPr>
                <p:nvPr/>
              </p:nvPicPr>
              <p:blipFill rotWithShape="1">
                <a:blip r:embed="rId11">
                  <a:duotone>
                    <a:schemeClr val="bg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52932"/>
                <a:stretch/>
              </p:blipFill>
              <p:spPr>
                <a:xfrm>
                  <a:off x="10447099" y="2187824"/>
                  <a:ext cx="1500604" cy="1021678"/>
                </a:xfrm>
                <a:prstGeom prst="rect">
                  <a:avLst/>
                </a:prstGeom>
              </p:spPr>
            </p:pic>
            <p:sp>
              <p:nvSpPr>
                <p:cNvPr id="96" name="TextBox 95"/>
                <p:cNvSpPr txBox="1"/>
                <p:nvPr/>
              </p:nvSpPr>
              <p:spPr>
                <a:xfrm>
                  <a:off x="10564923" y="2600864"/>
                  <a:ext cx="1321011" cy="5847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400" dirty="0" smtClean="0">
                      <a:latin typeface="Century" panose="02040604050505020304" pitchFamily="18" charset="0"/>
                    </a:rPr>
                    <a:t>Your journey </a:t>
                  </a:r>
                </a:p>
                <a:p>
                  <a:r>
                    <a:rPr lang="en-US" b="1" dirty="0" smtClean="0">
                      <a:solidFill>
                        <a:srgbClr val="0070C0"/>
                      </a:solidFill>
                      <a:latin typeface="Monotype Corsiva" panose="03010101010201010101" pitchFamily="66" charset="0"/>
                    </a:rPr>
                    <a:t>Begins </a:t>
                  </a:r>
                  <a:r>
                    <a:rPr lang="en-US" sz="1400" dirty="0" smtClean="0">
                      <a:latin typeface="Century" panose="02040604050505020304" pitchFamily="18" charset="0"/>
                    </a:rPr>
                    <a:t>here...</a:t>
                  </a:r>
                  <a:endParaRPr lang="en-US" sz="1400" dirty="0">
                    <a:latin typeface="Century" panose="02040604050505020304" pitchFamily="18" charset="0"/>
                  </a:endParaRPr>
                </a:p>
              </p:txBody>
            </p:sp>
            <p:sp>
              <p:nvSpPr>
                <p:cNvPr id="97" name="Down Arrow 96"/>
                <p:cNvSpPr/>
                <p:nvPr/>
              </p:nvSpPr>
              <p:spPr>
                <a:xfrm>
                  <a:off x="11664972" y="2952234"/>
                  <a:ext cx="161934" cy="194176"/>
                </a:xfrm>
                <a:prstGeom prst="downArrow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102" name="Group 101"/>
            <p:cNvGrpSpPr/>
            <p:nvPr/>
          </p:nvGrpSpPr>
          <p:grpSpPr>
            <a:xfrm>
              <a:off x="9793995" y="4370584"/>
              <a:ext cx="2394709" cy="2459717"/>
              <a:chOff x="9994328" y="4635925"/>
              <a:chExt cx="2194376" cy="2194376"/>
            </a:xfrm>
          </p:grpSpPr>
          <p:pic>
            <p:nvPicPr>
              <p:cNvPr id="100" name="Picture 99"/>
              <p:cNvPicPr>
                <a:picLocks noChangeAspect="1"/>
              </p:cNvPicPr>
              <p:nvPr/>
            </p:nvPicPr>
            <p:blipFill>
              <a:blip r:embed="rId12">
                <a:clrChange>
                  <a:clrFrom>
                    <a:srgbClr val="FEFEFF"/>
                  </a:clrFrom>
                  <a:clrTo>
                    <a:srgbClr val="FEFEFF">
                      <a:alpha val="0"/>
                    </a:srgbClr>
                  </a:clrTo>
                </a:clrChange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994328" y="4635925"/>
                <a:ext cx="2194376" cy="2194376"/>
              </a:xfrm>
              <a:prstGeom prst="rect">
                <a:avLst/>
              </a:prstGeom>
            </p:spPr>
          </p:pic>
          <p:sp>
            <p:nvSpPr>
              <p:cNvPr id="101" name="TextBox 100"/>
              <p:cNvSpPr txBox="1"/>
              <p:nvPr/>
            </p:nvSpPr>
            <p:spPr>
              <a:xfrm rot="21371249">
                <a:off x="10187979" y="5043472"/>
                <a:ext cx="1787356" cy="16927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900" b="1" dirty="0">
                    <a:latin typeface="Century" panose="02040604050505020304" pitchFamily="18" charset="0"/>
                  </a:rPr>
                  <a:t>Note:</a:t>
                </a:r>
              </a:p>
              <a:p>
                <a:r>
                  <a:rPr lang="en-US" sz="900" dirty="0">
                    <a:latin typeface="Century" panose="02040604050505020304" pitchFamily="18" charset="0"/>
                  </a:rPr>
                  <a:t>Topics should be relevant to MES: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900" dirty="0">
                    <a:latin typeface="Century" panose="02040604050505020304" pitchFamily="18" charset="0"/>
                  </a:rPr>
                  <a:t>Ideas for topics can be taken from MES use cases / best practice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900" dirty="0">
                    <a:latin typeface="Century" panose="02040604050505020304" pitchFamily="18" charset="0"/>
                  </a:rPr>
                  <a:t>Ideas for topics can also be upcoming or best in class technologies and techniques used in similar industries that will be beneficial to MES</a:t>
                </a:r>
              </a:p>
              <a:p>
                <a:endParaRPr lang="en-US" sz="9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01963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TextBox 88"/>
          <p:cNvSpPr txBox="1"/>
          <p:nvPr/>
        </p:nvSpPr>
        <p:spPr>
          <a:xfrm>
            <a:off x="0" y="6532772"/>
            <a:ext cx="12192000" cy="30777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400" spc="300" dirty="0" smtClean="0">
                <a:latin typeface="Century" panose="02040604050505020304" pitchFamily="18" charset="0"/>
                <a:ea typeface="Gungsuh" panose="02030600000101010101" pitchFamily="18" charset="-127"/>
                <a:cs typeface="Utsaah" panose="020B0604020202020204" pitchFamily="34" charset="0"/>
              </a:rPr>
              <a:t>One MES-Customer Engagement initiative</a:t>
            </a:r>
          </a:p>
        </p:txBody>
      </p:sp>
      <p:grpSp>
        <p:nvGrpSpPr>
          <p:cNvPr id="103" name="Group 102"/>
          <p:cNvGrpSpPr/>
          <p:nvPr/>
        </p:nvGrpSpPr>
        <p:grpSpPr>
          <a:xfrm>
            <a:off x="-3297" y="-5615"/>
            <a:ext cx="12192001" cy="7304289"/>
            <a:chOff x="-3297" y="-5615"/>
            <a:chExt cx="12192001" cy="7304289"/>
          </a:xfrm>
        </p:grpSpPr>
        <p:grpSp>
          <p:nvGrpSpPr>
            <p:cNvPr id="99" name="Group 98"/>
            <p:cNvGrpSpPr/>
            <p:nvPr/>
          </p:nvGrpSpPr>
          <p:grpSpPr>
            <a:xfrm>
              <a:off x="-3297" y="-5615"/>
              <a:ext cx="12192001" cy="7304289"/>
              <a:chOff x="-3297" y="-5615"/>
              <a:chExt cx="12192001" cy="7304289"/>
            </a:xfrm>
          </p:grpSpPr>
          <p:sp>
            <p:nvSpPr>
              <p:cNvPr id="98" name="Rectangle 97"/>
              <p:cNvSpPr/>
              <p:nvPr/>
            </p:nvSpPr>
            <p:spPr>
              <a:xfrm>
                <a:off x="-3297" y="-5615"/>
                <a:ext cx="12192001" cy="6858000"/>
              </a:xfrm>
              <a:prstGeom prst="rect">
                <a:avLst/>
              </a:prstGeom>
              <a:solidFill>
                <a:srgbClr val="F7F7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tIns="182880" rIns="182880" bIns="182880" rtlCol="0" anchor="ctr" anchorCtr="0"/>
              <a:lstStyle/>
              <a:p>
                <a:pPr>
                  <a:spcAft>
                    <a:spcPts val="600"/>
                  </a:spcAft>
                </a:pPr>
                <a:endParaRPr lang="en-US" dirty="0">
                  <a:solidFill>
                    <a:srgbClr val="F7F7F7"/>
                  </a:solidFill>
                </a:endParaRPr>
              </a:p>
            </p:txBody>
          </p:sp>
          <p:grpSp>
            <p:nvGrpSpPr>
              <p:cNvPr id="86" name="Group 85"/>
              <p:cNvGrpSpPr/>
              <p:nvPr/>
            </p:nvGrpSpPr>
            <p:grpSpPr>
              <a:xfrm>
                <a:off x="362823" y="815247"/>
                <a:ext cx="9279141" cy="6483427"/>
                <a:chOff x="362823" y="683045"/>
                <a:chExt cx="9279141" cy="6483427"/>
              </a:xfrm>
            </p:grpSpPr>
            <p:pic>
              <p:nvPicPr>
                <p:cNvPr id="4" name="Picture 3"/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679631" y="683045"/>
                  <a:ext cx="5267325" cy="6483427"/>
                </a:xfrm>
                <a:prstGeom prst="rect">
                  <a:avLst/>
                </a:prstGeom>
                <a:noFill/>
                <a:ln>
                  <a:noFill/>
                </a:ln>
                <a:scene3d>
                  <a:camera prst="perspectiveRelaxed"/>
                  <a:lightRig rig="threePt" dir="t"/>
                </a:scene3d>
              </p:spPr>
            </p:pic>
            <p:grpSp>
              <p:nvGrpSpPr>
                <p:cNvPr id="41" name="Group 40"/>
                <p:cNvGrpSpPr/>
                <p:nvPr/>
              </p:nvGrpSpPr>
              <p:grpSpPr>
                <a:xfrm>
                  <a:off x="362823" y="940776"/>
                  <a:ext cx="9279141" cy="5062050"/>
                  <a:chOff x="362823" y="940776"/>
                  <a:chExt cx="9279141" cy="5062050"/>
                </a:xfrm>
              </p:grpSpPr>
              <p:grpSp>
                <p:nvGrpSpPr>
                  <p:cNvPr id="42" name="Group 41"/>
                  <p:cNvGrpSpPr/>
                  <p:nvPr/>
                </p:nvGrpSpPr>
                <p:grpSpPr>
                  <a:xfrm>
                    <a:off x="362823" y="940776"/>
                    <a:ext cx="9279141" cy="5062050"/>
                    <a:chOff x="715367" y="764504"/>
                    <a:chExt cx="9279141" cy="5062050"/>
                  </a:xfrm>
                </p:grpSpPr>
                <p:sp>
                  <p:nvSpPr>
                    <p:cNvPr id="47" name="Pentagon 46"/>
                    <p:cNvSpPr/>
                    <p:nvPr/>
                  </p:nvSpPr>
                  <p:spPr>
                    <a:xfrm flipH="1">
                      <a:off x="743778" y="951114"/>
                      <a:ext cx="3028956" cy="774177"/>
                    </a:xfrm>
                    <a:prstGeom prst="homePlate">
                      <a:avLst/>
                    </a:prstGeom>
                    <a:solidFill>
                      <a:srgbClr val="92D050"/>
                    </a:solidFill>
                    <a:ln>
                      <a:solidFill>
                        <a:schemeClr val="accent6"/>
                      </a:solidFill>
                    </a:ln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  <p:grpSp>
                  <p:nvGrpSpPr>
                    <p:cNvPr id="48" name="Group 47"/>
                    <p:cNvGrpSpPr/>
                    <p:nvPr/>
                  </p:nvGrpSpPr>
                  <p:grpSpPr>
                    <a:xfrm>
                      <a:off x="4351641" y="764504"/>
                      <a:ext cx="5642867" cy="5062050"/>
                      <a:chOff x="4351641" y="764504"/>
                      <a:chExt cx="5642867" cy="5062050"/>
                    </a:xfrm>
                  </p:grpSpPr>
                  <p:grpSp>
                    <p:nvGrpSpPr>
                      <p:cNvPr id="57" name="Group 56"/>
                      <p:cNvGrpSpPr/>
                      <p:nvPr/>
                    </p:nvGrpSpPr>
                    <p:grpSpPr>
                      <a:xfrm>
                        <a:off x="4351641" y="764504"/>
                        <a:ext cx="5642867" cy="5062050"/>
                        <a:chOff x="291075" y="769474"/>
                        <a:chExt cx="5525327" cy="4961031"/>
                      </a:xfrm>
                    </p:grpSpPr>
                    <p:grpSp>
                      <p:nvGrpSpPr>
                        <p:cNvPr id="59" name="Group 58"/>
                        <p:cNvGrpSpPr/>
                        <p:nvPr/>
                      </p:nvGrpSpPr>
                      <p:grpSpPr>
                        <a:xfrm>
                          <a:off x="291075" y="769474"/>
                          <a:ext cx="5525327" cy="4961031"/>
                          <a:chOff x="291075" y="769474"/>
                          <a:chExt cx="5525327" cy="4961031"/>
                        </a:xfrm>
                      </p:grpSpPr>
                      <p:grpSp>
                        <p:nvGrpSpPr>
                          <p:cNvPr id="61" name="Group 60"/>
                          <p:cNvGrpSpPr/>
                          <p:nvPr/>
                        </p:nvGrpSpPr>
                        <p:grpSpPr>
                          <a:xfrm>
                            <a:off x="291075" y="769474"/>
                            <a:ext cx="5525327" cy="4961031"/>
                            <a:chOff x="291075" y="769474"/>
                            <a:chExt cx="5525327" cy="4961031"/>
                          </a:xfrm>
                        </p:grpSpPr>
                        <p:grpSp>
                          <p:nvGrpSpPr>
                            <p:cNvPr id="66" name="Group 65"/>
                            <p:cNvGrpSpPr/>
                            <p:nvPr/>
                          </p:nvGrpSpPr>
                          <p:grpSpPr>
                            <a:xfrm>
                              <a:off x="291075" y="769474"/>
                              <a:ext cx="5525327" cy="4961031"/>
                              <a:chOff x="123773" y="792684"/>
                              <a:chExt cx="5525327" cy="4961031"/>
                            </a:xfrm>
                          </p:grpSpPr>
                          <p:grpSp>
                            <p:nvGrpSpPr>
                              <p:cNvPr id="68" name="Group 67"/>
                              <p:cNvGrpSpPr/>
                              <p:nvPr/>
                            </p:nvGrpSpPr>
                            <p:grpSpPr>
                              <a:xfrm>
                                <a:off x="123773" y="792684"/>
                                <a:ext cx="5508410" cy="4961031"/>
                                <a:chOff x="123773" y="792684"/>
                                <a:chExt cx="5508410" cy="4961031"/>
                              </a:xfrm>
                            </p:grpSpPr>
                            <p:grpSp>
                              <p:nvGrpSpPr>
                                <p:cNvPr id="71" name="Group 70"/>
                                <p:cNvGrpSpPr/>
                                <p:nvPr/>
                              </p:nvGrpSpPr>
                              <p:grpSpPr>
                                <a:xfrm>
                                  <a:off x="4736830" y="975570"/>
                                  <a:ext cx="895353" cy="3048912"/>
                                  <a:chOff x="8207055" y="-1695151"/>
                                  <a:chExt cx="1518833" cy="5047644"/>
                                </a:xfrm>
                              </p:grpSpPr>
                              <p:sp>
                                <p:nvSpPr>
                                  <p:cNvPr id="80" name="Round Diagonal Corner Rectangle 79"/>
                                  <p:cNvSpPr/>
                                  <p:nvPr/>
                                </p:nvSpPr>
                                <p:spPr>
                                  <a:xfrm>
                                    <a:off x="8207055" y="-1695151"/>
                                    <a:ext cx="1518833" cy="2967262"/>
                                  </a:xfrm>
                                  <a:prstGeom prst="round2DiagRect">
                                    <a:avLst>
                                      <a:gd name="adj1" fmla="val 38365"/>
                                      <a:gd name="adj2" fmla="val 0"/>
                                    </a:avLst>
                                  </a:prstGeom>
                                  <a:solidFill>
                                    <a:srgbClr val="FFC000"/>
                                  </a:solidFill>
                                  <a:ln>
                                    <a:solidFill>
                                      <a:srgbClr val="FFC000"/>
                                    </a:solidFill>
                                  </a:ln>
                                </p:spPr>
                                <p:style>
                                  <a:lnRef idx="2">
                                    <a:schemeClr val="accent1">
                                      <a:shade val="50000"/>
                                    </a:schemeClr>
                                  </a:lnRef>
                                  <a:fillRef idx="1">
                                    <a:schemeClr val="accent1"/>
                                  </a:fillRef>
                                  <a:effectRef idx="0">
                                    <a:schemeClr val="accent1"/>
                                  </a:effectRef>
                                  <a:fontRef idx="minor">
                                    <a:schemeClr val="lt1"/>
                                  </a:fontRef>
                                </p:style>
                                <p:txBody>
                                  <a:bodyPr rtlCol="0" anchor="ctr"/>
                                  <a:lstStyle/>
                                  <a:p>
                                    <a:pPr algn="ctr"/>
                                    <a:endParaRPr lang="en-US" sz="900" dirty="0" smtClean="0">
                                      <a:latin typeface="Century" panose="02040604050505020304" pitchFamily="18" charset="0"/>
                                    </a:endParaRPr>
                                  </a:p>
                                </p:txBody>
                              </p:sp>
                              <p:cxnSp>
                                <p:nvCxnSpPr>
                                  <p:cNvPr id="81" name="Straight Connector 80"/>
                                  <p:cNvCxnSpPr/>
                                  <p:nvPr/>
                                </p:nvCxnSpPr>
                                <p:spPr>
                                  <a:xfrm flipH="1">
                                    <a:off x="8207796" y="-73755"/>
                                    <a:ext cx="11018" cy="3426248"/>
                                  </a:xfrm>
                                  <a:prstGeom prst="line">
                                    <a:avLst/>
                                  </a:prstGeom>
                                  <a:ln w="19050">
                                    <a:solidFill>
                                      <a:srgbClr val="FFC000"/>
                                    </a:solidFill>
                                  </a:ln>
                                </p:spPr>
                                <p:style>
                                  <a:lnRef idx="2">
                                    <a:schemeClr val="accent1">
                                      <a:shade val="50000"/>
                                    </a:schemeClr>
                                  </a:lnRef>
                                  <a:fillRef idx="1">
                                    <a:schemeClr val="accent1"/>
                                  </a:fillRef>
                                  <a:effectRef idx="0">
                                    <a:schemeClr val="accent1"/>
                                  </a:effectRef>
                                  <a:fontRef idx="minor">
                                    <a:schemeClr val="lt1"/>
                                  </a:fontRef>
                                </p:style>
                              </p:cxnSp>
                            </p:grpSp>
                            <p:sp>
                              <p:nvSpPr>
                                <p:cNvPr id="72" name="Round Diagonal Corner Rectangle 71"/>
                                <p:cNvSpPr/>
                                <p:nvPr/>
                              </p:nvSpPr>
                              <p:spPr>
                                <a:xfrm>
                                  <a:off x="3414337" y="792684"/>
                                  <a:ext cx="626747" cy="1254613"/>
                                </a:xfrm>
                                <a:prstGeom prst="round2DiagRect">
                                  <a:avLst>
                                    <a:gd name="adj1" fmla="val 38365"/>
                                    <a:gd name="adj2" fmla="val 0"/>
                                  </a:avLst>
                                </a:prstGeom>
                                <a:ln/>
                              </p:spPr>
                              <p:style>
                                <a:lnRef idx="2">
                                  <a:schemeClr val="accent2">
                                    <a:shade val="50000"/>
                                  </a:schemeClr>
                                </a:lnRef>
                                <a:fillRef idx="1">
                                  <a:schemeClr val="accent2"/>
                                </a:fillRef>
                                <a:effectRef idx="0">
                                  <a:schemeClr val="accent2"/>
                                </a:effectRef>
                                <a:fontRef idx="minor">
                                  <a:schemeClr val="lt1"/>
                                </a:fontRef>
                              </p:style>
                              <p:txBody>
                                <a:bodyPr rtlCol="0" anchor="ctr"/>
                                <a:lstStyle/>
                                <a:p>
                                  <a:pPr algn="ctr"/>
                                  <a:endParaRPr lang="en-US" sz="900" dirty="0" smtClean="0">
                                    <a:latin typeface="Century" panose="02040604050505020304" pitchFamily="18" charset="0"/>
                                  </a:endParaRPr>
                                </a:p>
                              </p:txBody>
                            </p:sp>
                            <p:sp>
                              <p:nvSpPr>
                                <p:cNvPr id="73" name="Round Diagonal Corner Rectangle 72"/>
                                <p:cNvSpPr/>
                                <p:nvPr/>
                              </p:nvSpPr>
                              <p:spPr>
                                <a:xfrm>
                                  <a:off x="2105241" y="839739"/>
                                  <a:ext cx="447677" cy="896152"/>
                                </a:xfrm>
                                <a:prstGeom prst="round2DiagRect">
                                  <a:avLst>
                                    <a:gd name="adj1" fmla="val 38365"/>
                                    <a:gd name="adj2" fmla="val 0"/>
                                  </a:avLst>
                                </a:prstGeom>
                                <a:solidFill>
                                  <a:schemeClr val="accent5"/>
                                </a:solidFill>
                                <a:ln>
                                  <a:solidFill>
                                    <a:schemeClr val="accent1">
                                      <a:lumMod val="50000"/>
                                    </a:schemeClr>
                                  </a:solidFill>
                                </a:ln>
                              </p:spPr>
                              <p:style>
                                <a:lnRef idx="2">
                                  <a:schemeClr val="accent6">
                                    <a:shade val="50000"/>
                                  </a:schemeClr>
                                </a:lnRef>
                                <a:fillRef idx="1">
                                  <a:schemeClr val="accent6"/>
                                </a:fillRef>
                                <a:effectRef idx="0">
                                  <a:schemeClr val="accent6"/>
                                </a:effectRef>
                                <a:fontRef idx="minor">
                                  <a:schemeClr val="lt1"/>
                                </a:fontRef>
                              </p:style>
                              <p:txBody>
                                <a:bodyPr rtlCol="0" anchor="b"/>
                                <a:lstStyle/>
                                <a:p>
                                  <a:pPr algn="ctr"/>
                                  <a:endParaRPr lang="en-US" sz="900" dirty="0">
                                    <a:latin typeface="Century" panose="02040604050505020304" pitchFamily="18" charset="0"/>
                                  </a:endParaRPr>
                                </a:p>
                              </p:txBody>
                            </p:sp>
                            <p:cxnSp>
                              <p:nvCxnSpPr>
                                <p:cNvPr id="74" name="Straight Connector 73"/>
                                <p:cNvCxnSpPr/>
                                <p:nvPr/>
                              </p:nvCxnSpPr>
                              <p:spPr>
                                <a:xfrm>
                                  <a:off x="2105245" y="1064313"/>
                                  <a:ext cx="24003" cy="1194915"/>
                                </a:xfrm>
                                <a:prstGeom prst="line">
                                  <a:avLst/>
                                </a:prstGeom>
                                <a:ln w="19050">
                                  <a:solidFill>
                                    <a:schemeClr val="accent1">
                                      <a:lumMod val="75000"/>
                                    </a:schemeClr>
                                  </a:solidFill>
                                </a:ln>
                              </p:spPr>
                              <p:style>
                                <a:lnRef idx="2">
                                  <a:schemeClr val="accent6">
                                    <a:shade val="50000"/>
                                  </a:schemeClr>
                                </a:lnRef>
                                <a:fillRef idx="1">
                                  <a:schemeClr val="accent6"/>
                                </a:fillRef>
                                <a:effectRef idx="0">
                                  <a:schemeClr val="accent6"/>
                                </a:effectRef>
                                <a:fontRef idx="minor">
                                  <a:schemeClr val="lt1"/>
                                </a:fontRef>
                              </p:style>
                            </p:cxnSp>
                            <p:grpSp>
                              <p:nvGrpSpPr>
                                <p:cNvPr id="75" name="Group 74"/>
                                <p:cNvGrpSpPr/>
                                <p:nvPr/>
                              </p:nvGrpSpPr>
                              <p:grpSpPr>
                                <a:xfrm>
                                  <a:off x="123773" y="1532336"/>
                                  <a:ext cx="1253493" cy="4221379"/>
                                  <a:chOff x="123773" y="1532336"/>
                                  <a:chExt cx="1253493" cy="4221379"/>
                                </a:xfrm>
                              </p:grpSpPr>
                              <p:grpSp>
                                <p:nvGrpSpPr>
                                  <p:cNvPr id="76" name="Group 75"/>
                                  <p:cNvGrpSpPr/>
                                  <p:nvPr/>
                                </p:nvGrpSpPr>
                                <p:grpSpPr>
                                  <a:xfrm>
                                    <a:off x="151757" y="1532336"/>
                                    <a:ext cx="1163958" cy="4221379"/>
                                    <a:chOff x="2103349" y="-1618662"/>
                                    <a:chExt cx="1974483" cy="6988728"/>
                                  </a:xfrm>
                                </p:grpSpPr>
                                <p:sp>
                                  <p:nvSpPr>
                                    <p:cNvPr id="78" name="Round Diagonal Corner Rectangle 77"/>
                                    <p:cNvSpPr/>
                                    <p:nvPr/>
                                  </p:nvSpPr>
                                  <p:spPr>
                                    <a:xfrm>
                                      <a:off x="2103349" y="-1618662"/>
                                      <a:ext cx="1974483" cy="3857432"/>
                                    </a:xfrm>
                                    <a:prstGeom prst="round2DiagRect">
                                      <a:avLst>
                                        <a:gd name="adj1" fmla="val 38365"/>
                                        <a:gd name="adj2" fmla="val 0"/>
                                      </a:avLst>
                                    </a:prstGeom>
                                    <a:ln/>
                                  </p:spPr>
                                  <p:style>
                                    <a:lnRef idx="2">
                                      <a:schemeClr val="accent6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6"/>
                                    </a:fillRef>
                                    <a:effectRef idx="0">
                                      <a:schemeClr val="accent6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  <p:txBody>
                                    <a:bodyPr rtlCol="0" anchor="ctr"/>
                                    <a:lstStyle/>
                                    <a:p>
                                      <a:pPr algn="ctr"/>
                                      <a:endParaRPr lang="en-US" sz="900" dirty="0" smtClean="0">
                                        <a:latin typeface="Century" panose="02040604050505020304" pitchFamily="18" charset="0"/>
                                      </a:endParaRPr>
                                    </a:p>
                                  </p:txBody>
                                </p:sp>
                                <p:cxnSp>
                                  <p:nvCxnSpPr>
                                    <p:cNvPr id="79" name="Straight Connector 78"/>
                                    <p:cNvCxnSpPr/>
                                    <p:nvPr/>
                                  </p:nvCxnSpPr>
                                  <p:spPr>
                                    <a:xfrm flipH="1">
                                      <a:off x="2103351" y="1943822"/>
                                      <a:ext cx="11018" cy="3426244"/>
                                    </a:xfrm>
                                    <a:prstGeom prst="line">
                                      <a:avLst/>
                                    </a:prstGeom>
                                    <a:ln w="19050">
                                      <a:solidFill>
                                        <a:schemeClr val="accent6"/>
                                      </a:solidFill>
                                    </a:ln>
                                  </p:spPr>
                                  <p:style>
                                    <a:lnRef idx="2">
                                      <a:schemeClr val="accent6">
                                        <a:shade val="50000"/>
                                      </a:schemeClr>
                                    </a:lnRef>
                                    <a:fillRef idx="1">
                                      <a:schemeClr val="accent6"/>
                                    </a:fillRef>
                                    <a:effectRef idx="0">
                                      <a:schemeClr val="accent6"/>
                                    </a:effectRef>
                                    <a:fontRef idx="minor">
                                      <a:schemeClr val="lt1"/>
                                    </a:fontRef>
                                  </p:style>
                                </p:cxnSp>
                              </p:grpSp>
                              <p:sp>
                                <p:nvSpPr>
                                  <p:cNvPr id="77" name="TextBox 76"/>
                                  <p:cNvSpPr txBox="1"/>
                                  <p:nvPr/>
                                </p:nvSpPr>
                                <p:spPr>
                                  <a:xfrm>
                                    <a:off x="123773" y="1860196"/>
                                    <a:ext cx="1253493" cy="1598663"/>
                                  </a:xfrm>
                                  <a:prstGeom prst="rect">
                                    <a:avLst/>
                                  </a:prstGeom>
                                  <a:noFill/>
                                </p:spPr>
                                <p:txBody>
                                  <a:bodyPr wrap="square" rtlCol="0">
                                    <a:spAutoFit/>
                                  </a:bodyPr>
                                  <a:lstStyle/>
                                  <a:p>
                                    <a:pPr algn="ctr"/>
                                    <a:r>
                                      <a:rPr lang="en-US" b="1" dirty="0" smtClean="0">
                                        <a:solidFill>
                                          <a:schemeClr val="bg1"/>
                                        </a:solidFill>
                                        <a:latin typeface="Century" panose="02040604050505020304" pitchFamily="18" charset="0"/>
                                      </a:rPr>
                                      <a:t>Milestone 1</a:t>
                                    </a:r>
                                  </a:p>
                                  <a:p>
                                    <a:pPr algn="ctr"/>
                                    <a:endParaRPr lang="en-US" sz="1600" dirty="0">
                                      <a:solidFill>
                                        <a:schemeClr val="bg1"/>
                                      </a:solidFill>
                                      <a:latin typeface="Century" panose="02040604050505020304" pitchFamily="18" charset="0"/>
                                    </a:endParaRPr>
                                  </a:p>
                                  <a:p>
                                    <a:pPr algn="ctr"/>
                                    <a:r>
                                      <a:rPr lang="en-US" sz="1600" dirty="0" smtClean="0">
                                        <a:solidFill>
                                          <a:schemeClr val="bg1"/>
                                        </a:solidFill>
                                        <a:latin typeface="Century" panose="02040604050505020304" pitchFamily="18" charset="0"/>
                                      </a:rPr>
                                      <a:t>Topic Submission</a:t>
                                    </a:r>
                                    <a:endParaRPr lang="en-US" sz="1600" dirty="0">
                                      <a:solidFill>
                                        <a:schemeClr val="bg1"/>
                                      </a:solidFill>
                                      <a:latin typeface="Century" panose="02040604050505020304" pitchFamily="18" charset="0"/>
                                    </a:endParaRPr>
                                  </a:p>
                                </p:txBody>
                              </p:sp>
                            </p:grpSp>
                          </p:grpSp>
                          <p:sp>
                            <p:nvSpPr>
                              <p:cNvPr id="69" name="TextBox 68"/>
                              <p:cNvSpPr txBox="1"/>
                              <p:nvPr/>
                            </p:nvSpPr>
                            <p:spPr>
                              <a:xfrm>
                                <a:off x="4664987" y="1259141"/>
                                <a:ext cx="984113" cy="1055721"/>
                              </a:xfrm>
                              <a:prstGeom prst="rect">
                                <a:avLst/>
                              </a:prstGeom>
                              <a:noFill/>
                            </p:spPr>
                            <p:txBody>
                              <a:bodyPr wrap="square" rtlCol="0">
                                <a:spAutoFit/>
                              </a:bodyPr>
                              <a:lstStyle/>
                              <a:p>
                                <a:pPr algn="ctr"/>
                                <a:r>
                                  <a:rPr lang="en-US" sz="1400" b="1" dirty="0" smtClean="0">
                                    <a:solidFill>
                                      <a:schemeClr val="bg1"/>
                                    </a:solidFill>
                                    <a:latin typeface="Century" panose="02040604050505020304" pitchFamily="18" charset="0"/>
                                  </a:rPr>
                                  <a:t>Milestone 2</a:t>
                                </a:r>
                              </a:p>
                              <a:p>
                                <a:pPr algn="ctr"/>
                                <a:endParaRPr lang="en-US" sz="1200" dirty="0">
                                  <a:solidFill>
                                    <a:schemeClr val="bg1"/>
                                  </a:solidFill>
                                  <a:latin typeface="Century" panose="02040604050505020304" pitchFamily="18" charset="0"/>
                                </a:endParaRPr>
                              </a:p>
                              <a:p>
                                <a:pPr algn="ctr"/>
                                <a:r>
                                  <a:rPr lang="en-US" sz="1200" dirty="0" smtClean="0">
                                    <a:solidFill>
                                      <a:schemeClr val="bg1"/>
                                    </a:solidFill>
                                    <a:latin typeface="Century" panose="02040604050505020304" pitchFamily="18" charset="0"/>
                                  </a:rPr>
                                  <a:t>Wait n Watch....</a:t>
                                </a:r>
                                <a:endParaRPr lang="en-US" sz="1200" dirty="0">
                                  <a:solidFill>
                                    <a:schemeClr val="bg1"/>
                                  </a:solidFill>
                                  <a:latin typeface="Century" panose="02040604050505020304" pitchFamily="18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70" name="TextBox 69"/>
                              <p:cNvSpPr txBox="1"/>
                              <p:nvPr/>
                            </p:nvSpPr>
                            <p:spPr>
                              <a:xfrm>
                                <a:off x="3335892" y="1064381"/>
                                <a:ext cx="805818" cy="716922"/>
                              </a:xfrm>
                              <a:prstGeom prst="rect">
                                <a:avLst/>
                              </a:prstGeom>
                              <a:noFill/>
                            </p:spPr>
                            <p:txBody>
                              <a:bodyPr wrap="square" rtlCol="0">
                                <a:spAutoFit/>
                              </a:bodyPr>
                              <a:lstStyle/>
                              <a:p>
                                <a:pPr algn="ctr"/>
                                <a:r>
                                  <a:rPr lang="en-US" sz="1000" b="1" dirty="0" smtClean="0">
                                    <a:solidFill>
                                      <a:schemeClr val="bg1"/>
                                    </a:solidFill>
                                    <a:latin typeface="Century" panose="02040604050505020304" pitchFamily="18" charset="0"/>
                                  </a:rPr>
                                  <a:t>Milestone 3</a:t>
                                </a:r>
                              </a:p>
                              <a:p>
                                <a:pPr algn="ctr"/>
                                <a:endParaRPr lang="en-US" sz="900" dirty="0">
                                  <a:solidFill>
                                    <a:schemeClr val="bg1"/>
                                  </a:solidFill>
                                  <a:latin typeface="Century" panose="02040604050505020304" pitchFamily="18" charset="0"/>
                                </a:endParaRPr>
                              </a:p>
                              <a:p>
                                <a:pPr algn="ctr"/>
                                <a:r>
                                  <a:rPr lang="en-US" sz="900" dirty="0" smtClean="0">
                                    <a:solidFill>
                                      <a:schemeClr val="bg1"/>
                                    </a:solidFill>
                                    <a:latin typeface="Century" panose="02040604050505020304" pitchFamily="18" charset="0"/>
                                  </a:rPr>
                                  <a:t>Wait n Watch....</a:t>
                                </a:r>
                                <a:endParaRPr lang="en-US" sz="900" dirty="0">
                                  <a:solidFill>
                                    <a:schemeClr val="bg1"/>
                                  </a:solidFill>
                                  <a:latin typeface="Century" panose="02040604050505020304" pitchFamily="18" charset="0"/>
                                </a:endParaRPr>
                              </a:p>
                            </p:txBody>
                          </p:sp>
                        </p:grpSp>
                        <p:pic>
                          <p:nvPicPr>
                            <p:cNvPr id="67" name="Picture 66"/>
                            <p:cNvPicPr>
                              <a:picLocks noChangeAspect="1"/>
                            </p:cNvPicPr>
                            <p:nvPr/>
                          </p:nvPicPr>
                          <p:blipFill>
                            <a:blip r:embed="rId3" cstate="print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tretch>
                              <a:fillRect/>
                            </a:stretch>
                          </p:blipFill>
                          <p:spPr>
                            <a:xfrm>
                              <a:off x="2300590" y="818694"/>
                              <a:ext cx="413639" cy="703423"/>
                            </a:xfrm>
                            <a:prstGeom prst="rect">
                              <a:avLst/>
                            </a:prstGeom>
                          </p:spPr>
                        </p:pic>
                      </p:grpSp>
                      <p:grpSp>
                        <p:nvGrpSpPr>
                          <p:cNvPr id="62" name="Group 61"/>
                          <p:cNvGrpSpPr/>
                          <p:nvPr/>
                        </p:nvGrpSpPr>
                        <p:grpSpPr>
                          <a:xfrm>
                            <a:off x="2414408" y="1613925"/>
                            <a:ext cx="387655" cy="527903"/>
                            <a:chOff x="3857164" y="1132786"/>
                            <a:chExt cx="387655" cy="527903"/>
                          </a:xfrm>
                          <a:scene3d>
                            <a:camera prst="perspectiveContrastingLeftFacing"/>
                            <a:lightRig rig="threePt" dir="t"/>
                          </a:scene3d>
                        </p:grpSpPr>
                        <p:cxnSp>
                          <p:nvCxnSpPr>
                            <p:cNvPr id="63" name="Straight Arrow Connector 62"/>
                            <p:cNvCxnSpPr/>
                            <p:nvPr/>
                          </p:nvCxnSpPr>
                          <p:spPr>
                            <a:xfrm flipV="1">
                              <a:off x="3857164" y="1132786"/>
                              <a:ext cx="0" cy="526274"/>
                            </a:xfrm>
                            <a:prstGeom prst="straightConnector1">
                              <a:avLst/>
                            </a:prstGeom>
                            <a:ln>
                              <a:solidFill>
                                <a:srgbClr val="C00000"/>
                              </a:solidFill>
                              <a:tailEnd type="triangle"/>
                            </a:ln>
                          </p:spPr>
                          <p:style>
                            <a:lnRef idx="1">
                              <a:schemeClr val="accent1"/>
                            </a:lnRef>
                            <a:fillRef idx="0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tx1"/>
                            </a:fontRef>
                          </p:style>
                        </p:cxnSp>
                        <p:cxnSp>
                          <p:nvCxnSpPr>
                            <p:cNvPr id="64" name="Straight Arrow Connector 63"/>
                            <p:cNvCxnSpPr/>
                            <p:nvPr/>
                          </p:nvCxnSpPr>
                          <p:spPr>
                            <a:xfrm flipV="1">
                              <a:off x="4244819" y="1134416"/>
                              <a:ext cx="0" cy="526273"/>
                            </a:xfrm>
                            <a:prstGeom prst="straightConnector1">
                              <a:avLst/>
                            </a:prstGeom>
                            <a:ln>
                              <a:solidFill>
                                <a:srgbClr val="C00000"/>
                              </a:solidFill>
                              <a:tailEnd type="triangle"/>
                            </a:ln>
                          </p:spPr>
                          <p:style>
                            <a:lnRef idx="1">
                              <a:schemeClr val="accent1"/>
                            </a:lnRef>
                            <a:fillRef idx="0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tx1"/>
                            </a:fontRef>
                          </p:style>
                        </p:cxnSp>
                        <p:sp>
                          <p:nvSpPr>
                            <p:cNvPr id="65" name="Wave 64"/>
                            <p:cNvSpPr/>
                            <p:nvPr/>
                          </p:nvSpPr>
                          <p:spPr>
                            <a:xfrm>
                              <a:off x="3878733" y="1214365"/>
                              <a:ext cx="366074" cy="153009"/>
                            </a:xfrm>
                            <a:prstGeom prst="wave">
                              <a:avLst/>
                            </a:prstGeom>
                            <a:solidFill>
                              <a:srgbClr val="FF0000"/>
                            </a:solidFill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r>
                                <a:rPr lang="en-US" sz="500" dirty="0" smtClean="0">
                                  <a:latin typeface="Andalus" panose="02020603050405020304" pitchFamily="18" charset="-78"/>
                                  <a:cs typeface="Andalus" panose="02020603050405020304" pitchFamily="18" charset="-78"/>
                                </a:rPr>
                                <a:t>FINISH</a:t>
                              </a:r>
                              <a:endParaRPr lang="en-US" sz="500" dirty="0">
                                <a:latin typeface="Andalus" panose="02020603050405020304" pitchFamily="18" charset="-78"/>
                                <a:cs typeface="Andalus" panose="02020603050405020304" pitchFamily="18" charset="-78"/>
                              </a:endParaRPr>
                            </a:p>
                          </p:txBody>
                        </p:sp>
                      </p:grpSp>
                    </p:grpSp>
                    <p:pic>
                      <p:nvPicPr>
                        <p:cNvPr id="60" name="Picture 59"/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" cstate="print">
                          <a:clrChange>
                            <a:clrFrom>
                              <a:srgbClr val="FFFFFF"/>
                            </a:clrFrom>
                            <a:clrTo>
                              <a:srgbClr val="FFFFFF">
                                <a:alpha val="0"/>
                              </a:srgbClr>
                            </a:clrTo>
                          </a:clrChange>
                          <a:duotone>
                            <a:schemeClr val="accent2">
                              <a:shade val="45000"/>
                              <a:satMod val="135000"/>
                            </a:schemeClr>
                            <a:prstClr val="white"/>
                          </a:duotone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>
                        <a:xfrm flipH="1">
                          <a:off x="2228476" y="1786189"/>
                          <a:ext cx="462559" cy="471379"/>
                        </a:xfrm>
                        <a:prstGeom prst="rect">
                          <a:avLst/>
                        </a:prstGeom>
                      </p:spPr>
                    </p:pic>
                  </p:grpSp>
                  <p:cxnSp>
                    <p:nvCxnSpPr>
                      <p:cNvPr id="58" name="Straight Connector 57"/>
                      <p:cNvCxnSpPr/>
                      <p:nvPr/>
                    </p:nvCxnSpPr>
                    <p:spPr>
                      <a:xfrm>
                        <a:off x="7711463" y="2002296"/>
                        <a:ext cx="23279" cy="990223"/>
                      </a:xfrm>
                      <a:prstGeom prst="line">
                        <a:avLst/>
                      </a:prstGeom>
                      <a:ln w="19050">
                        <a:solidFill>
                          <a:schemeClr val="accent2"/>
                        </a:solidFill>
                      </a:ln>
                    </p:spPr>
                    <p:style>
                      <a:lnRef idx="2">
                        <a:schemeClr val="accent6">
                          <a:shade val="50000"/>
                        </a:schemeClr>
                      </a:lnRef>
                      <a:fillRef idx="1">
                        <a:schemeClr val="accent6"/>
                      </a:fillRef>
                      <a:effectRef idx="0">
                        <a:schemeClr val="accent6"/>
                      </a:effectRef>
                      <a:fontRef idx="minor">
                        <a:schemeClr val="lt1"/>
                      </a:fontRef>
                    </p:style>
                  </p:cxnSp>
                </p:grpSp>
                <p:sp>
                  <p:nvSpPr>
                    <p:cNvPr id="49" name="TextBox 48"/>
                    <p:cNvSpPr txBox="1"/>
                    <p:nvPr/>
                  </p:nvSpPr>
                  <p:spPr>
                    <a:xfrm>
                      <a:off x="6325801" y="1445276"/>
                      <a:ext cx="595592" cy="215444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/>
                      <a:r>
                        <a:rPr lang="en-US" sz="800" dirty="0" smtClean="0">
                          <a:solidFill>
                            <a:schemeClr val="bg1"/>
                          </a:solidFill>
                          <a:latin typeface="Century" panose="02040604050505020304" pitchFamily="18" charset="0"/>
                        </a:rPr>
                        <a:t>Winner</a:t>
                      </a:r>
                      <a:endParaRPr lang="en-US" sz="800" dirty="0">
                        <a:solidFill>
                          <a:schemeClr val="bg1"/>
                        </a:solidFill>
                        <a:latin typeface="Century" panose="02040604050505020304" pitchFamily="18" charset="0"/>
                      </a:endParaRPr>
                    </a:p>
                  </p:txBody>
                </p:sp>
                <p:cxnSp>
                  <p:nvCxnSpPr>
                    <p:cNvPr id="50" name="Curved Connector 49"/>
                    <p:cNvCxnSpPr/>
                    <p:nvPr/>
                  </p:nvCxnSpPr>
                  <p:spPr>
                    <a:xfrm rot="16200000" flipV="1">
                      <a:off x="3578800" y="1475680"/>
                      <a:ext cx="990705" cy="606108"/>
                    </a:xfrm>
                    <a:prstGeom prst="curvedConnector3">
                      <a:avLst/>
                    </a:prstGeom>
                    <a:ln>
                      <a:solidFill>
                        <a:schemeClr val="accent6"/>
                      </a:solidFill>
                      <a:tailEnd type="triangle"/>
                    </a:ln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51" name="Pentagon 50"/>
                    <p:cNvSpPr/>
                    <p:nvPr/>
                  </p:nvSpPr>
                  <p:spPr>
                    <a:xfrm flipH="1">
                      <a:off x="715367" y="1961285"/>
                      <a:ext cx="3028956" cy="774177"/>
                    </a:xfrm>
                    <a:prstGeom prst="homePlate">
                      <a:avLst/>
                    </a:prstGeom>
                    <a:solidFill>
                      <a:srgbClr val="92D050"/>
                    </a:solidFill>
                    <a:ln>
                      <a:solidFill>
                        <a:schemeClr val="accent6"/>
                      </a:solidFill>
                    </a:ln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  <p:sp>
                  <p:nvSpPr>
                    <p:cNvPr id="52" name="Pentagon 51"/>
                    <p:cNvSpPr/>
                    <p:nvPr/>
                  </p:nvSpPr>
                  <p:spPr>
                    <a:xfrm flipH="1">
                      <a:off x="721911" y="2982988"/>
                      <a:ext cx="3028956" cy="774177"/>
                    </a:xfrm>
                    <a:prstGeom prst="homePlate">
                      <a:avLst/>
                    </a:prstGeom>
                    <a:solidFill>
                      <a:srgbClr val="92D050"/>
                    </a:solidFill>
                    <a:ln>
                      <a:solidFill>
                        <a:schemeClr val="accent6"/>
                      </a:solidFill>
                    </a:ln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  <p:sp>
                  <p:nvSpPr>
                    <p:cNvPr id="53" name="Pentagon 52"/>
                    <p:cNvSpPr/>
                    <p:nvPr/>
                  </p:nvSpPr>
                  <p:spPr>
                    <a:xfrm flipH="1">
                      <a:off x="743778" y="4030662"/>
                      <a:ext cx="3028956" cy="774177"/>
                    </a:xfrm>
                    <a:prstGeom prst="homePlate">
                      <a:avLst/>
                    </a:prstGeom>
                    <a:solidFill>
                      <a:srgbClr val="92D050"/>
                    </a:solidFill>
                    <a:ln>
                      <a:solidFill>
                        <a:schemeClr val="accent6"/>
                      </a:solidFill>
                    </a:ln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  <p:cxnSp>
                  <p:nvCxnSpPr>
                    <p:cNvPr id="54" name="Curved Connector 53"/>
                    <p:cNvCxnSpPr/>
                    <p:nvPr/>
                  </p:nvCxnSpPr>
                  <p:spPr>
                    <a:xfrm rot="5400000">
                      <a:off x="3577747" y="3668328"/>
                      <a:ext cx="990705" cy="606108"/>
                    </a:xfrm>
                    <a:prstGeom prst="curvedConnector3">
                      <a:avLst/>
                    </a:prstGeom>
                    <a:ln>
                      <a:solidFill>
                        <a:schemeClr val="accent6"/>
                      </a:solidFill>
                      <a:tailEnd type="triangle"/>
                    </a:ln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55" name="Curved Connector 54"/>
                    <p:cNvCxnSpPr/>
                    <p:nvPr/>
                  </p:nvCxnSpPr>
                  <p:spPr>
                    <a:xfrm rot="10800000">
                      <a:off x="3744323" y="2141901"/>
                      <a:ext cx="631514" cy="532763"/>
                    </a:xfrm>
                    <a:prstGeom prst="curvedConnector3">
                      <a:avLst/>
                    </a:prstGeom>
                    <a:ln>
                      <a:solidFill>
                        <a:schemeClr val="accent6"/>
                      </a:solidFill>
                      <a:tailEnd type="triangle"/>
                    </a:ln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56" name="Curved Connector 55"/>
                    <p:cNvCxnSpPr/>
                    <p:nvPr/>
                  </p:nvCxnSpPr>
                  <p:spPr>
                    <a:xfrm rot="10800000" flipV="1">
                      <a:off x="3757235" y="2947485"/>
                      <a:ext cx="605600" cy="479973"/>
                    </a:xfrm>
                    <a:prstGeom prst="curvedConnector3">
                      <a:avLst/>
                    </a:prstGeom>
                    <a:ln>
                      <a:solidFill>
                        <a:schemeClr val="accent6"/>
                      </a:solidFill>
                      <a:tailEnd type="triangle"/>
                    </a:ln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sp>
                <p:nvSpPr>
                  <p:cNvPr id="43" name="TextBox 42"/>
                  <p:cNvSpPr txBox="1"/>
                  <p:nvPr/>
                </p:nvSpPr>
                <p:spPr>
                  <a:xfrm>
                    <a:off x="1040769" y="1162866"/>
                    <a:ext cx="2501447" cy="707886"/>
                  </a:xfrm>
                  <a:prstGeom prst="rect">
                    <a:avLst/>
                  </a:prstGeom>
                  <a:noFill/>
                </p:spPr>
                <p:txBody>
                  <a:bodyPr wrap="square" rtlCol="0" anchor="ctr">
                    <a:spAutoFit/>
                  </a:bodyPr>
                  <a:lstStyle/>
                  <a:p>
                    <a:pPr algn="ctr"/>
                    <a:r>
                      <a:rPr lang="en-US" sz="1600" b="1" u="sng" dirty="0" smtClean="0">
                        <a:solidFill>
                          <a:srgbClr val="F7F7F7"/>
                        </a:solidFill>
                      </a:rPr>
                      <a:t>Step 1</a:t>
                    </a:r>
                    <a:r>
                      <a:rPr lang="en-US" sz="1400" dirty="0" smtClean="0">
                        <a:solidFill>
                          <a:srgbClr val="F7F7F7"/>
                        </a:solidFill>
                      </a:rPr>
                      <a:t>: </a:t>
                    </a:r>
                  </a:p>
                  <a:p>
                    <a:r>
                      <a:rPr lang="en-US" sz="1200" dirty="0" smtClean="0">
                        <a:solidFill>
                          <a:srgbClr val="F7F7F7"/>
                        </a:solidFill>
                        <a:latin typeface="Century" panose="02040604050505020304" pitchFamily="18" charset="0"/>
                        <a:cs typeface="Arial" panose="020B0604020202020204" pitchFamily="34" charset="0"/>
                      </a:rPr>
                      <a:t>Form </a:t>
                    </a:r>
                    <a:r>
                      <a:rPr lang="en-US" sz="1200" dirty="0">
                        <a:solidFill>
                          <a:srgbClr val="F7F7F7"/>
                        </a:solidFill>
                        <a:latin typeface="Century" panose="02040604050505020304" pitchFamily="18" charset="0"/>
                        <a:cs typeface="Arial" panose="020B0604020202020204" pitchFamily="34" charset="0"/>
                      </a:rPr>
                      <a:t>teams of up to 4 associates (individual entries accepted</a:t>
                    </a:r>
                    <a:r>
                      <a:rPr lang="en-US" sz="1200" dirty="0" smtClean="0">
                        <a:solidFill>
                          <a:srgbClr val="F7F7F7"/>
                        </a:solidFill>
                        <a:latin typeface="Century" panose="02040604050505020304" pitchFamily="18" charset="0"/>
                        <a:cs typeface="Arial" panose="020B0604020202020204" pitchFamily="34" charset="0"/>
                      </a:rPr>
                      <a:t>)</a:t>
                    </a:r>
                    <a:endParaRPr lang="en-US" sz="1400" dirty="0"/>
                  </a:p>
                </p:txBody>
              </p:sp>
              <p:sp>
                <p:nvSpPr>
                  <p:cNvPr id="44" name="TextBox 43"/>
                  <p:cNvSpPr txBox="1"/>
                  <p:nvPr/>
                </p:nvSpPr>
                <p:spPr>
                  <a:xfrm>
                    <a:off x="1043669" y="2179573"/>
                    <a:ext cx="2364782" cy="670953"/>
                  </a:xfrm>
                  <a:prstGeom prst="rect">
                    <a:avLst/>
                  </a:prstGeom>
                  <a:noFill/>
                </p:spPr>
                <p:txBody>
                  <a:bodyPr wrap="square" rtlCol="0" anchor="ctr">
                    <a:spAutoFit/>
                  </a:bodyPr>
                  <a:lstStyle/>
                  <a:p>
                    <a:pPr algn="ctr"/>
                    <a:r>
                      <a:rPr lang="en-US" sz="1600" b="1" u="sng" dirty="0" smtClean="0">
                        <a:solidFill>
                          <a:srgbClr val="F7F7F7"/>
                        </a:solidFill>
                      </a:rPr>
                      <a:t>Step 2</a:t>
                    </a:r>
                    <a:r>
                      <a:rPr lang="en-US" sz="1400" dirty="0" smtClean="0">
                        <a:solidFill>
                          <a:srgbClr val="F7F7F7"/>
                        </a:solidFill>
                      </a:rPr>
                      <a:t>: </a:t>
                    </a:r>
                  </a:p>
                  <a:p>
                    <a:pPr lvl="0" algn="ctr" defTabSz="8890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</a:pPr>
                    <a:r>
                      <a:rPr lang="en-US" sz="1200" dirty="0" smtClean="0">
                        <a:solidFill>
                          <a:srgbClr val="F7F7F7"/>
                        </a:solidFill>
                        <a:latin typeface="Century" panose="02040604050505020304" pitchFamily="18" charset="0"/>
                        <a:cs typeface="Arial" panose="020B0604020202020204" pitchFamily="34" charset="0"/>
                      </a:rPr>
                      <a:t>Nominate a primary Correspondent</a:t>
                    </a:r>
                    <a:endParaRPr lang="en-US" sz="1200" dirty="0">
                      <a:solidFill>
                        <a:srgbClr val="F7F7F7"/>
                      </a:solidFill>
                      <a:latin typeface="Century" panose="02040604050505020304" pitchFamily="18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45" name="TextBox 44"/>
                  <p:cNvSpPr txBox="1"/>
                  <p:nvPr/>
                </p:nvSpPr>
                <p:spPr>
                  <a:xfrm>
                    <a:off x="959508" y="3231084"/>
                    <a:ext cx="2445756" cy="738664"/>
                  </a:xfrm>
                  <a:prstGeom prst="rect">
                    <a:avLst/>
                  </a:prstGeom>
                  <a:noFill/>
                </p:spPr>
                <p:txBody>
                  <a:bodyPr wrap="square" rtlCol="0" anchor="ctr">
                    <a:spAutoFit/>
                  </a:bodyPr>
                  <a:lstStyle/>
                  <a:p>
                    <a:pPr algn="ctr"/>
                    <a:r>
                      <a:rPr lang="en-US" sz="1600" b="1" u="sng" dirty="0" smtClean="0">
                        <a:solidFill>
                          <a:srgbClr val="F7F7F7"/>
                        </a:solidFill>
                      </a:rPr>
                      <a:t>Step 3</a:t>
                    </a:r>
                    <a:r>
                      <a:rPr lang="en-US" sz="1400" dirty="0" smtClean="0">
                        <a:solidFill>
                          <a:srgbClr val="F7F7F7"/>
                        </a:solidFill>
                      </a:rPr>
                      <a:t>: </a:t>
                    </a:r>
                  </a:p>
                  <a:p>
                    <a:r>
                      <a:rPr lang="en-US" sz="1200" dirty="0" smtClean="0">
                        <a:solidFill>
                          <a:srgbClr val="F7F7F7"/>
                        </a:solidFill>
                        <a:latin typeface="Century" panose="02040604050505020304" pitchFamily="18" charset="0"/>
                        <a:cs typeface="Arial" panose="020B0604020202020204" pitchFamily="34" charset="0"/>
                      </a:rPr>
                      <a:t>Select a topic pertinent to MES</a:t>
                    </a:r>
                    <a:endParaRPr lang="en-US" sz="1200" dirty="0">
                      <a:solidFill>
                        <a:srgbClr val="F7F7F7"/>
                      </a:solidFill>
                      <a:latin typeface="Century" panose="02040604050505020304" pitchFamily="18" charset="0"/>
                      <a:cs typeface="Arial" panose="020B0604020202020204" pitchFamily="34" charset="0"/>
                    </a:endParaRPr>
                  </a:p>
                  <a:p>
                    <a:endParaRPr lang="en-US" sz="1400" dirty="0">
                      <a:solidFill>
                        <a:srgbClr val="F7F7F7"/>
                      </a:solidFill>
                    </a:endParaRPr>
                  </a:p>
                </p:txBody>
              </p:sp>
              <p:sp>
                <p:nvSpPr>
                  <p:cNvPr id="46" name="TextBox 45"/>
                  <p:cNvSpPr txBox="1"/>
                  <p:nvPr/>
                </p:nvSpPr>
                <p:spPr>
                  <a:xfrm>
                    <a:off x="1074772" y="4207376"/>
                    <a:ext cx="2158594" cy="707886"/>
                  </a:xfrm>
                  <a:prstGeom prst="rect">
                    <a:avLst/>
                  </a:prstGeom>
                  <a:noFill/>
                </p:spPr>
                <p:txBody>
                  <a:bodyPr wrap="square" rtlCol="0" anchor="ctr">
                    <a:spAutoFit/>
                  </a:bodyPr>
                  <a:lstStyle/>
                  <a:p>
                    <a:pPr algn="ctr"/>
                    <a:r>
                      <a:rPr lang="en-US" sz="1600" b="1" u="sng" dirty="0" smtClean="0">
                        <a:solidFill>
                          <a:srgbClr val="F7F7F7"/>
                        </a:solidFill>
                      </a:rPr>
                      <a:t>Step 4</a:t>
                    </a:r>
                    <a:r>
                      <a:rPr lang="en-US" sz="1400" dirty="0" smtClean="0">
                        <a:solidFill>
                          <a:srgbClr val="F7F7F7"/>
                        </a:solidFill>
                      </a:rPr>
                      <a:t>: </a:t>
                    </a:r>
                  </a:p>
                  <a:p>
                    <a:pPr algn="ctr"/>
                    <a:r>
                      <a:rPr lang="en-US" sz="1200" dirty="0" smtClean="0">
                        <a:solidFill>
                          <a:srgbClr val="F7F7F7"/>
                        </a:solidFill>
                        <a:latin typeface="Century" panose="02040604050505020304" pitchFamily="18" charset="0"/>
                        <a:cs typeface="Arial" panose="020B0604020202020204" pitchFamily="34" charset="0"/>
                      </a:rPr>
                      <a:t>Submit your topic by</a:t>
                    </a:r>
                  </a:p>
                  <a:p>
                    <a:pPr algn="ctr"/>
                    <a:r>
                      <a:rPr lang="en-US" sz="1200" dirty="0" smtClean="0">
                        <a:solidFill>
                          <a:srgbClr val="F7F7F7"/>
                        </a:solidFill>
                        <a:latin typeface="Century" panose="02040604050505020304" pitchFamily="18" charset="0"/>
                        <a:cs typeface="Arial" panose="020B0604020202020204" pitchFamily="34" charset="0"/>
                      </a:rPr>
                      <a:t> 04</a:t>
                    </a:r>
                    <a:r>
                      <a:rPr lang="en-US" sz="1200" baseline="30000" dirty="0" smtClean="0">
                        <a:solidFill>
                          <a:srgbClr val="F7F7F7"/>
                        </a:solidFill>
                        <a:latin typeface="Century" panose="02040604050505020304" pitchFamily="18" charset="0"/>
                        <a:cs typeface="Arial" panose="020B0604020202020204" pitchFamily="34" charset="0"/>
                      </a:rPr>
                      <a:t>th</a:t>
                    </a:r>
                    <a:r>
                      <a:rPr lang="en-US" sz="1200" dirty="0" smtClean="0">
                        <a:solidFill>
                          <a:srgbClr val="F7F7F7"/>
                        </a:solidFill>
                        <a:latin typeface="Century" panose="02040604050505020304" pitchFamily="18" charset="0"/>
                        <a:cs typeface="Arial" panose="020B0604020202020204" pitchFamily="34" charset="0"/>
                      </a:rPr>
                      <a:t> Sep, 2017</a:t>
                    </a:r>
                    <a:endParaRPr lang="en-US" sz="1400" dirty="0">
                      <a:solidFill>
                        <a:srgbClr val="F7F7F7"/>
                      </a:solidFill>
                    </a:endParaRPr>
                  </a:p>
                </p:txBody>
              </p:sp>
            </p:grpSp>
            <p:pic>
              <p:nvPicPr>
                <p:cNvPr id="82" name="Picture 81"/>
                <p:cNvPicPr>
                  <a:picLocks noChangeAspect="1"/>
                </p:cNvPicPr>
                <p:nvPr/>
              </p:nvPicPr>
              <p:blipFill>
                <a:blip r:embed="rId5" cstate="print">
                  <a:biLevel thresh="7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6111" y="1199978"/>
                  <a:ext cx="533847" cy="539295"/>
                </a:xfrm>
                <a:prstGeom prst="rect">
                  <a:avLst/>
                </a:prstGeom>
              </p:spPr>
            </p:pic>
            <p:pic>
              <p:nvPicPr>
                <p:cNvPr id="83" name="Picture 82"/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08138" y="2246622"/>
                  <a:ext cx="530352" cy="530352"/>
                </a:xfrm>
                <a:prstGeom prst="rect">
                  <a:avLst/>
                </a:prstGeom>
              </p:spPr>
            </p:pic>
            <p:pic>
              <p:nvPicPr>
                <p:cNvPr id="84" name="Picture 83"/>
                <p:cNvPicPr>
                  <a:picLocks noChangeAspect="1"/>
                </p:cNvPicPr>
                <p:nvPr/>
              </p:nvPicPr>
              <p:blipFill>
                <a:blip r:embed="rId7">
                  <a:biLevel thresh="7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6917" y="3271284"/>
                  <a:ext cx="548640" cy="548640"/>
                </a:xfrm>
                <a:prstGeom prst="rect">
                  <a:avLst/>
                </a:prstGeom>
              </p:spPr>
            </p:pic>
            <p:pic>
              <p:nvPicPr>
                <p:cNvPr id="85" name="Picture 84"/>
                <p:cNvPicPr>
                  <a:picLocks noChangeAspect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98994" y="4321338"/>
                  <a:ext cx="539496" cy="539496"/>
                </a:xfrm>
                <a:prstGeom prst="rect">
                  <a:avLst/>
                </a:prstGeom>
              </p:spPr>
            </p:pic>
          </p:grpSp>
          <p:sp>
            <p:nvSpPr>
              <p:cNvPr id="87" name="TextBox 86"/>
              <p:cNvSpPr txBox="1"/>
              <p:nvPr/>
            </p:nvSpPr>
            <p:spPr>
              <a:xfrm>
                <a:off x="346591" y="194231"/>
                <a:ext cx="9573310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44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" panose="02040604050505020304" pitchFamily="18" charset="0"/>
                    <a:cs typeface="Arial" panose="020B0604020202020204" pitchFamily="34" charset="0"/>
                  </a:rPr>
                  <a:t>MES Whitepaper Challenge 2017</a:t>
                </a:r>
                <a:endParaRPr lang="en-US" sz="4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" panose="02040604050505020304" pitchFamily="18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90" name="Group 89"/>
              <p:cNvGrpSpPr/>
              <p:nvPr/>
            </p:nvGrpSpPr>
            <p:grpSpPr>
              <a:xfrm>
                <a:off x="9670970" y="93147"/>
                <a:ext cx="2428843" cy="1678130"/>
                <a:chOff x="-61284" y="143688"/>
                <a:chExt cx="2483796" cy="1702359"/>
              </a:xfrm>
            </p:grpSpPr>
            <p:pic>
              <p:nvPicPr>
                <p:cNvPr id="91" name="Picture 90"/>
                <p:cNvPicPr>
                  <a:picLocks noChangeAspect="1"/>
                </p:cNvPicPr>
                <p:nvPr/>
              </p:nvPicPr>
              <p:blipFill rotWithShape="1">
                <a:blip r:embed="rId9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-1" r="714" b="7696"/>
                <a:stretch/>
              </p:blipFill>
              <p:spPr>
                <a:xfrm>
                  <a:off x="179223" y="143688"/>
                  <a:ext cx="1918731" cy="1385669"/>
                </a:xfrm>
                <a:prstGeom prst="rect">
                  <a:avLst/>
                </a:prstGeom>
              </p:spPr>
            </p:pic>
            <p:sp>
              <p:nvSpPr>
                <p:cNvPr id="92" name="TextBox 91"/>
                <p:cNvSpPr txBox="1"/>
                <p:nvPr/>
              </p:nvSpPr>
              <p:spPr>
                <a:xfrm>
                  <a:off x="-61284" y="1415160"/>
                  <a:ext cx="2483796" cy="43088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i="1" dirty="0" smtClean="0">
                      <a:solidFill>
                        <a:srgbClr val="0070C0"/>
                      </a:solidFill>
                      <a:latin typeface="Century" panose="02040604050505020304" pitchFamily="18" charset="0"/>
                    </a:rPr>
                    <a:t>Time to wear your writer’s cap &amp; pen down your thoughts</a:t>
                  </a:r>
                  <a:endParaRPr lang="en-US" sz="1100" i="1" dirty="0">
                    <a:solidFill>
                      <a:srgbClr val="0070C0"/>
                    </a:solidFill>
                    <a:latin typeface="Century" panose="02040604050505020304" pitchFamily="18" charset="0"/>
                  </a:endParaRPr>
                </a:p>
              </p:txBody>
            </p:sp>
          </p:grpSp>
          <p:grpSp>
            <p:nvGrpSpPr>
              <p:cNvPr id="93" name="Group 92"/>
              <p:cNvGrpSpPr/>
              <p:nvPr/>
            </p:nvGrpSpPr>
            <p:grpSpPr>
              <a:xfrm>
                <a:off x="10337191" y="2202553"/>
                <a:ext cx="1500604" cy="1537093"/>
                <a:chOff x="10447099" y="2187824"/>
                <a:chExt cx="1500604" cy="1537093"/>
              </a:xfrm>
            </p:grpSpPr>
            <p:sp>
              <p:nvSpPr>
                <p:cNvPr id="94" name="Bevel 93"/>
                <p:cNvSpPr/>
                <p:nvPr/>
              </p:nvSpPr>
              <p:spPr>
                <a:xfrm>
                  <a:off x="10486856" y="3223246"/>
                  <a:ext cx="1394490" cy="501671"/>
                </a:xfrm>
                <a:prstGeom prst="bevel">
                  <a:avLst/>
                </a:prstGeom>
                <a:solidFill>
                  <a:srgbClr val="D7D7D7"/>
                </a:solidFill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pic>
              <p:nvPicPr>
                <p:cNvPr id="95" name="Picture 94"/>
                <p:cNvPicPr>
                  <a:picLocks noChangeAspect="1"/>
                </p:cNvPicPr>
                <p:nvPr/>
              </p:nvPicPr>
              <p:blipFill rotWithShape="1">
                <a:blip r:embed="rId10">
                  <a:duotone>
                    <a:schemeClr val="bg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52932"/>
                <a:stretch/>
              </p:blipFill>
              <p:spPr>
                <a:xfrm>
                  <a:off x="10447099" y="2187824"/>
                  <a:ext cx="1500604" cy="1021678"/>
                </a:xfrm>
                <a:prstGeom prst="rect">
                  <a:avLst/>
                </a:prstGeom>
              </p:spPr>
            </p:pic>
            <p:sp>
              <p:nvSpPr>
                <p:cNvPr id="96" name="TextBox 95"/>
                <p:cNvSpPr txBox="1"/>
                <p:nvPr/>
              </p:nvSpPr>
              <p:spPr>
                <a:xfrm>
                  <a:off x="10564923" y="2600864"/>
                  <a:ext cx="1321011" cy="5847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400" dirty="0" smtClean="0">
                      <a:latin typeface="Century" panose="02040604050505020304" pitchFamily="18" charset="0"/>
                    </a:rPr>
                    <a:t>Your journey </a:t>
                  </a:r>
                </a:p>
                <a:p>
                  <a:r>
                    <a:rPr lang="en-US" b="1" dirty="0" smtClean="0">
                      <a:solidFill>
                        <a:srgbClr val="0070C0"/>
                      </a:solidFill>
                      <a:latin typeface="Monotype Corsiva" panose="03010101010201010101" pitchFamily="66" charset="0"/>
                    </a:rPr>
                    <a:t>Begins </a:t>
                  </a:r>
                  <a:r>
                    <a:rPr lang="en-US" sz="1400" dirty="0" smtClean="0">
                      <a:latin typeface="Century" panose="02040604050505020304" pitchFamily="18" charset="0"/>
                    </a:rPr>
                    <a:t>here...</a:t>
                  </a:r>
                  <a:endParaRPr lang="en-US" sz="1400" dirty="0">
                    <a:latin typeface="Century" panose="02040604050505020304" pitchFamily="18" charset="0"/>
                  </a:endParaRPr>
                </a:p>
              </p:txBody>
            </p:sp>
            <p:sp>
              <p:nvSpPr>
                <p:cNvPr id="97" name="Down Arrow 96"/>
                <p:cNvSpPr/>
                <p:nvPr/>
              </p:nvSpPr>
              <p:spPr>
                <a:xfrm>
                  <a:off x="11664972" y="2952234"/>
                  <a:ext cx="161934" cy="194176"/>
                </a:xfrm>
                <a:prstGeom prst="downArrow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102" name="Group 101"/>
            <p:cNvGrpSpPr/>
            <p:nvPr/>
          </p:nvGrpSpPr>
          <p:grpSpPr>
            <a:xfrm>
              <a:off x="9793995" y="4370583"/>
              <a:ext cx="2394709" cy="2459717"/>
              <a:chOff x="9994328" y="4635924"/>
              <a:chExt cx="2194376" cy="2194376"/>
            </a:xfrm>
          </p:grpSpPr>
          <p:pic>
            <p:nvPicPr>
              <p:cNvPr id="100" name="Picture 99"/>
              <p:cNvPicPr>
                <a:picLocks noChangeAspect="1"/>
              </p:cNvPicPr>
              <p:nvPr/>
            </p:nvPicPr>
            <p:blipFill>
              <a:blip r:embed="rId11">
                <a:clrChange>
                  <a:clrFrom>
                    <a:srgbClr val="FEFEFF"/>
                  </a:clrFrom>
                  <a:clrTo>
                    <a:srgbClr val="FEFE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994328" y="4635924"/>
                <a:ext cx="2194376" cy="2194376"/>
              </a:xfrm>
              <a:prstGeom prst="rect">
                <a:avLst/>
              </a:prstGeom>
            </p:spPr>
          </p:pic>
          <p:sp>
            <p:nvSpPr>
              <p:cNvPr id="101" name="TextBox 100"/>
              <p:cNvSpPr txBox="1"/>
              <p:nvPr/>
            </p:nvSpPr>
            <p:spPr>
              <a:xfrm rot="21371249">
                <a:off x="10187979" y="5043472"/>
                <a:ext cx="1787356" cy="16927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900" b="1" dirty="0">
                    <a:latin typeface="Century" panose="02040604050505020304" pitchFamily="18" charset="0"/>
                  </a:rPr>
                  <a:t>Note:</a:t>
                </a:r>
              </a:p>
              <a:p>
                <a:r>
                  <a:rPr lang="en-US" sz="900" dirty="0">
                    <a:latin typeface="Century" panose="02040604050505020304" pitchFamily="18" charset="0"/>
                  </a:rPr>
                  <a:t>Topics should be relevant to MES: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900" dirty="0">
                    <a:latin typeface="Century" panose="02040604050505020304" pitchFamily="18" charset="0"/>
                  </a:rPr>
                  <a:t>Ideas for topics can be taken from MES use cases / best practice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900" dirty="0">
                    <a:latin typeface="Century" panose="02040604050505020304" pitchFamily="18" charset="0"/>
                  </a:rPr>
                  <a:t>Ideas for topics can also be upcoming or best in class technologies and techniques used in similar industries that will be beneficial to MES</a:t>
                </a:r>
              </a:p>
              <a:p>
                <a:endParaRPr lang="en-US" sz="9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98994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TextBox 88"/>
          <p:cNvSpPr txBox="1"/>
          <p:nvPr/>
        </p:nvSpPr>
        <p:spPr>
          <a:xfrm>
            <a:off x="0" y="6532772"/>
            <a:ext cx="12192000" cy="30777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400" spc="300" dirty="0" smtClean="0">
                <a:latin typeface="Century" panose="02040604050505020304" pitchFamily="18" charset="0"/>
                <a:ea typeface="Gungsuh" panose="02030600000101010101" pitchFamily="18" charset="-127"/>
                <a:cs typeface="Utsaah" panose="020B0604020202020204" pitchFamily="34" charset="0"/>
              </a:rPr>
              <a:t>One MES-Customer Engagement initiative</a:t>
            </a:r>
          </a:p>
        </p:txBody>
      </p:sp>
      <p:grpSp>
        <p:nvGrpSpPr>
          <p:cNvPr id="103" name="Group 102"/>
          <p:cNvGrpSpPr/>
          <p:nvPr/>
        </p:nvGrpSpPr>
        <p:grpSpPr>
          <a:xfrm>
            <a:off x="-3297" y="-5615"/>
            <a:ext cx="12192001" cy="7155562"/>
            <a:chOff x="-3297" y="-5615"/>
            <a:chExt cx="12192001" cy="7155562"/>
          </a:xfrm>
        </p:grpSpPr>
        <p:grpSp>
          <p:nvGrpSpPr>
            <p:cNvPr id="99" name="Group 98"/>
            <p:cNvGrpSpPr/>
            <p:nvPr/>
          </p:nvGrpSpPr>
          <p:grpSpPr>
            <a:xfrm>
              <a:off x="-3297" y="-5615"/>
              <a:ext cx="12192001" cy="6858000"/>
              <a:chOff x="-3297" y="-5615"/>
              <a:chExt cx="12192001" cy="6858000"/>
            </a:xfrm>
          </p:grpSpPr>
          <p:sp>
            <p:nvSpPr>
              <p:cNvPr id="98" name="Rectangle 97"/>
              <p:cNvSpPr/>
              <p:nvPr/>
            </p:nvSpPr>
            <p:spPr>
              <a:xfrm>
                <a:off x="-3297" y="-5615"/>
                <a:ext cx="12192001" cy="6858000"/>
              </a:xfrm>
              <a:prstGeom prst="rect">
                <a:avLst/>
              </a:prstGeom>
              <a:solidFill>
                <a:srgbClr val="F7F7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tIns="182880" rIns="182880" bIns="182880" rtlCol="0" anchor="ctr" anchorCtr="0"/>
              <a:lstStyle/>
              <a:p>
                <a:pPr>
                  <a:spcAft>
                    <a:spcPts val="600"/>
                  </a:spcAft>
                </a:pPr>
                <a:endParaRPr lang="en-US" dirty="0">
                  <a:solidFill>
                    <a:srgbClr val="F7F7F7"/>
                  </a:solidFill>
                </a:endParaRPr>
              </a:p>
            </p:txBody>
          </p:sp>
          <p:sp>
            <p:nvSpPr>
              <p:cNvPr id="87" name="TextBox 86"/>
              <p:cNvSpPr txBox="1"/>
              <p:nvPr/>
            </p:nvSpPr>
            <p:spPr>
              <a:xfrm>
                <a:off x="346591" y="194231"/>
                <a:ext cx="9573310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44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" panose="02040604050505020304" pitchFamily="18" charset="0"/>
                    <a:cs typeface="Arial" panose="020B0604020202020204" pitchFamily="34" charset="0"/>
                  </a:rPr>
                  <a:t>MES Whitepaper Challenge 2017</a:t>
                </a:r>
                <a:endParaRPr lang="en-US" sz="4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" panose="02040604050505020304" pitchFamily="18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90" name="Group 89"/>
              <p:cNvGrpSpPr/>
              <p:nvPr/>
            </p:nvGrpSpPr>
            <p:grpSpPr>
              <a:xfrm>
                <a:off x="9670970" y="93147"/>
                <a:ext cx="2428843" cy="1678130"/>
                <a:chOff x="-61284" y="143688"/>
                <a:chExt cx="2483796" cy="1702359"/>
              </a:xfrm>
            </p:grpSpPr>
            <p:pic>
              <p:nvPicPr>
                <p:cNvPr id="91" name="Picture 90"/>
                <p:cNvPicPr>
                  <a:picLocks noChangeAspect="1"/>
                </p:cNvPicPr>
                <p:nvPr/>
              </p:nvPicPr>
              <p:blipFill rotWithShape="1">
                <a:blip r:embed="rId2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-1" r="714" b="7696"/>
                <a:stretch/>
              </p:blipFill>
              <p:spPr>
                <a:xfrm>
                  <a:off x="179223" y="143688"/>
                  <a:ext cx="1918731" cy="1385669"/>
                </a:xfrm>
                <a:prstGeom prst="rect">
                  <a:avLst/>
                </a:prstGeom>
              </p:spPr>
            </p:pic>
            <p:sp>
              <p:nvSpPr>
                <p:cNvPr id="92" name="TextBox 91"/>
                <p:cNvSpPr txBox="1"/>
                <p:nvPr/>
              </p:nvSpPr>
              <p:spPr>
                <a:xfrm>
                  <a:off x="-61284" y="1415160"/>
                  <a:ext cx="2483796" cy="43088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i="1" dirty="0" smtClean="0">
                      <a:solidFill>
                        <a:srgbClr val="0070C0"/>
                      </a:solidFill>
                      <a:latin typeface="Century" panose="02040604050505020304" pitchFamily="18" charset="0"/>
                    </a:rPr>
                    <a:t>Time to wear your writer’s cap &amp; pen down your thoughts</a:t>
                  </a:r>
                  <a:endParaRPr lang="en-US" sz="1100" i="1" dirty="0">
                    <a:solidFill>
                      <a:srgbClr val="0070C0"/>
                    </a:solidFill>
                    <a:latin typeface="Century" panose="02040604050505020304" pitchFamily="18" charset="0"/>
                  </a:endParaRPr>
                </a:p>
              </p:txBody>
            </p:sp>
          </p:grpSp>
        </p:grpSp>
        <p:grpSp>
          <p:nvGrpSpPr>
            <p:cNvPr id="102" name="Group 101"/>
            <p:cNvGrpSpPr/>
            <p:nvPr/>
          </p:nvGrpSpPr>
          <p:grpSpPr>
            <a:xfrm>
              <a:off x="936434" y="963671"/>
              <a:ext cx="7590621" cy="6186276"/>
              <a:chOff x="1877760" y="1596532"/>
              <a:chExt cx="6955616" cy="5518933"/>
            </a:xfrm>
          </p:grpSpPr>
          <p:pic>
            <p:nvPicPr>
              <p:cNvPr id="100" name="Picture 99"/>
              <p:cNvPicPr>
                <a:picLocks noChangeAspect="1"/>
              </p:cNvPicPr>
              <p:nvPr/>
            </p:nvPicPr>
            <p:blipFill>
              <a:blip r:embed="rId3">
                <a:clrChange>
                  <a:clrFrom>
                    <a:srgbClr val="FEFEFF"/>
                  </a:clrFrom>
                  <a:clrTo>
                    <a:srgbClr val="FEFE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877760" y="1596532"/>
                <a:ext cx="6955616" cy="5518933"/>
              </a:xfrm>
              <a:prstGeom prst="rect">
                <a:avLst/>
              </a:prstGeom>
            </p:spPr>
          </p:pic>
          <p:sp>
            <p:nvSpPr>
              <p:cNvPr id="101" name="TextBox 100"/>
              <p:cNvSpPr txBox="1"/>
              <p:nvPr/>
            </p:nvSpPr>
            <p:spPr>
              <a:xfrm rot="21441223">
                <a:off x="2953085" y="2518390"/>
                <a:ext cx="4845345" cy="31576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dirty="0"/>
                  <a:t>Dear All, </a:t>
                </a:r>
              </a:p>
              <a:p>
                <a:endParaRPr lang="en-US" sz="1600" dirty="0"/>
              </a:p>
              <a:p>
                <a:r>
                  <a:rPr lang="en-US" sz="1600" dirty="0"/>
                  <a:t>Please join us for an interactive session on </a:t>
                </a:r>
                <a:r>
                  <a:rPr lang="en-US" sz="1600" b="1" dirty="0"/>
                  <a:t>MES Whitepaper Challenge 2017</a:t>
                </a:r>
                <a:r>
                  <a:rPr lang="en-US" sz="1600" dirty="0"/>
                  <a:t>. </a:t>
                </a:r>
              </a:p>
              <a:p>
                <a:endParaRPr lang="en-US" sz="1600" dirty="0"/>
              </a:p>
              <a:p>
                <a:r>
                  <a:rPr lang="en-US" sz="1600" b="1" dirty="0"/>
                  <a:t>What you can expect to be discussed ?</a:t>
                </a:r>
              </a:p>
              <a:p>
                <a:endParaRPr lang="en-US" sz="1600" dirty="0"/>
              </a:p>
              <a:p>
                <a:r>
                  <a:rPr lang="en-US" sz="1600" dirty="0"/>
                  <a:t>What is the purpose of writing a whitepaper? </a:t>
                </a:r>
              </a:p>
              <a:p>
                <a:endParaRPr lang="en-US" sz="1600" dirty="0"/>
              </a:p>
              <a:p>
                <a:r>
                  <a:rPr lang="en-US" sz="1600" dirty="0"/>
                  <a:t>Whitepaper examples and best practices. </a:t>
                </a:r>
              </a:p>
              <a:p>
                <a:endParaRPr lang="en-US" sz="1600" dirty="0"/>
              </a:p>
              <a:p>
                <a:r>
                  <a:rPr lang="en-US" sz="1600" dirty="0"/>
                  <a:t>MES Whitepaper challenge guidelines, and rules.</a:t>
                </a:r>
              </a:p>
              <a:p>
                <a:endParaRPr lang="en-US" sz="1600" dirty="0"/>
              </a:p>
              <a:p>
                <a:r>
                  <a:rPr lang="en-US" sz="1600" dirty="0"/>
                  <a:t>Frequently asked questions (FAQs).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04876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TextBox 88"/>
          <p:cNvSpPr txBox="1"/>
          <p:nvPr/>
        </p:nvSpPr>
        <p:spPr>
          <a:xfrm>
            <a:off x="0" y="6532772"/>
            <a:ext cx="12192000" cy="30777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400" spc="300" dirty="0" smtClean="0">
                <a:latin typeface="Century" panose="02040604050505020304" pitchFamily="18" charset="0"/>
                <a:ea typeface="Gungsuh" panose="02030600000101010101" pitchFamily="18" charset="-127"/>
                <a:cs typeface="Utsaah" panose="020B0604020202020204" pitchFamily="34" charset="0"/>
              </a:rPr>
              <a:t>One MES-Customer Engagement initiative</a:t>
            </a:r>
          </a:p>
        </p:txBody>
      </p:sp>
      <p:grpSp>
        <p:nvGrpSpPr>
          <p:cNvPr id="99" name="Group 98"/>
          <p:cNvGrpSpPr/>
          <p:nvPr/>
        </p:nvGrpSpPr>
        <p:grpSpPr>
          <a:xfrm>
            <a:off x="-3297" y="-5615"/>
            <a:ext cx="12192001" cy="6858000"/>
            <a:chOff x="-3297" y="-5615"/>
            <a:chExt cx="12192001" cy="6858000"/>
          </a:xfrm>
        </p:grpSpPr>
        <p:sp>
          <p:nvSpPr>
            <p:cNvPr id="98" name="Rectangle 97"/>
            <p:cNvSpPr/>
            <p:nvPr/>
          </p:nvSpPr>
          <p:spPr>
            <a:xfrm>
              <a:off x="-3297" y="-5615"/>
              <a:ext cx="12192001" cy="6858000"/>
            </a:xfrm>
            <a:prstGeom prst="rect">
              <a:avLst/>
            </a:prstGeom>
            <a:solidFill>
              <a:srgbClr val="F7F7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182880" rIns="182880" bIns="182880" rtlCol="0" anchor="ctr" anchorCtr="0"/>
            <a:lstStyle/>
            <a:p>
              <a:pPr>
                <a:spcAft>
                  <a:spcPts val="600"/>
                </a:spcAft>
              </a:pPr>
              <a:endParaRPr lang="en-US" dirty="0">
                <a:solidFill>
                  <a:srgbClr val="F7F7F7"/>
                </a:solidFill>
              </a:endParaRPr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346591" y="194231"/>
              <a:ext cx="957331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" panose="02040604050505020304" pitchFamily="18" charset="0"/>
                  <a:cs typeface="Arial" panose="020B0604020202020204" pitchFamily="34" charset="0"/>
                </a:rPr>
                <a:t>MES Whitepaper Challenge 2017</a:t>
              </a:r>
              <a:endParaRPr lang="en-US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" panose="02040604050505020304" pitchFamily="18" charset="0"/>
                <a:cs typeface="Arial" panose="020B0604020202020204" pitchFamily="34" charset="0"/>
              </a:endParaRPr>
            </a:p>
          </p:txBody>
        </p:sp>
        <p:grpSp>
          <p:nvGrpSpPr>
            <p:cNvPr id="90" name="Group 89"/>
            <p:cNvGrpSpPr/>
            <p:nvPr/>
          </p:nvGrpSpPr>
          <p:grpSpPr>
            <a:xfrm>
              <a:off x="9670970" y="93147"/>
              <a:ext cx="2428843" cy="1678130"/>
              <a:chOff x="-61284" y="143688"/>
              <a:chExt cx="2483796" cy="1702359"/>
            </a:xfrm>
          </p:grpSpPr>
          <p:pic>
            <p:nvPicPr>
              <p:cNvPr id="91" name="Picture 90"/>
              <p:cNvPicPr>
                <a:picLocks noChangeAspect="1"/>
              </p:cNvPicPr>
              <p:nvPr/>
            </p:nvPicPr>
            <p:blipFill rotWithShape="1">
              <a:blip r:embed="rId2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1" r="714" b="7696"/>
              <a:stretch/>
            </p:blipFill>
            <p:spPr>
              <a:xfrm>
                <a:off x="179223" y="143688"/>
                <a:ext cx="1918731" cy="1385669"/>
              </a:xfrm>
              <a:prstGeom prst="rect">
                <a:avLst/>
              </a:prstGeom>
            </p:spPr>
          </p:pic>
          <p:sp>
            <p:nvSpPr>
              <p:cNvPr id="92" name="TextBox 91"/>
              <p:cNvSpPr txBox="1"/>
              <p:nvPr/>
            </p:nvSpPr>
            <p:spPr>
              <a:xfrm>
                <a:off x="-61284" y="1415160"/>
                <a:ext cx="2483796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i="1" dirty="0" smtClean="0">
                    <a:solidFill>
                      <a:srgbClr val="0070C0"/>
                    </a:solidFill>
                    <a:latin typeface="Century" panose="02040604050505020304" pitchFamily="18" charset="0"/>
                  </a:rPr>
                  <a:t>Time to wear your writer’s cap &amp; pen down your thoughts</a:t>
                </a:r>
                <a:endParaRPr lang="en-US" sz="1100" i="1" dirty="0">
                  <a:solidFill>
                    <a:srgbClr val="0070C0"/>
                  </a:solidFill>
                  <a:latin typeface="Century" panose="02040604050505020304" pitchFamily="18" charset="0"/>
                </a:endParaRPr>
              </a:p>
            </p:txBody>
          </p:sp>
        </p:grpSp>
      </p:grp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EBEAE8"/>
              </a:clrFrom>
              <a:clrTo>
                <a:srgbClr val="EBEAE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912"/>
          <a:stretch/>
        </p:blipFill>
        <p:spPr>
          <a:xfrm>
            <a:off x="731108" y="3823522"/>
            <a:ext cx="9188793" cy="2397067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05080" y="1064756"/>
            <a:ext cx="86702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i="1" dirty="0" smtClean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Need more clarification about Whitepaper.....?????</a:t>
            </a:r>
            <a:endParaRPr lang="en-US" b="1" i="1" dirty="0" smtClean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r>
              <a:rPr lang="en-US" dirty="0" smtClean="0">
                <a:solidFill>
                  <a:schemeClr val="accent2">
                    <a:lumMod val="75000"/>
                  </a:schemeClr>
                </a:solidFill>
              </a:rPr>
              <a:t>Here we are with an exciting workshop to clarify all your doubts...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Cloud Callout 5"/>
          <p:cNvSpPr/>
          <p:nvPr/>
        </p:nvSpPr>
        <p:spPr>
          <a:xfrm>
            <a:off x="4803357" y="2016087"/>
            <a:ext cx="1751682" cy="1619479"/>
          </a:xfrm>
          <a:prstGeom prst="cloudCallou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What is Whitepaper ??????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72" y="1658940"/>
            <a:ext cx="8207545" cy="5040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935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3297" y="-5615"/>
            <a:ext cx="12195297" cy="6886738"/>
            <a:chOff x="-3297" y="-5615"/>
            <a:chExt cx="12195297" cy="6886738"/>
          </a:xfrm>
        </p:grpSpPr>
        <p:sp>
          <p:nvSpPr>
            <p:cNvPr id="89" name="TextBox 88"/>
            <p:cNvSpPr txBox="1"/>
            <p:nvPr/>
          </p:nvSpPr>
          <p:spPr>
            <a:xfrm>
              <a:off x="0" y="6532772"/>
              <a:ext cx="12192000" cy="307777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r>
                <a:rPr lang="en-US" sz="1400" spc="300" dirty="0" smtClean="0">
                  <a:latin typeface="Century" panose="02040604050505020304" pitchFamily="18" charset="0"/>
                  <a:ea typeface="Gungsuh" panose="02030600000101010101" pitchFamily="18" charset="-127"/>
                  <a:cs typeface="Utsaah" panose="020B0604020202020204" pitchFamily="34" charset="0"/>
                </a:rPr>
                <a:t>One MES-Customer Engagement initiative</a:t>
              </a:r>
            </a:p>
          </p:txBody>
        </p:sp>
        <p:grpSp>
          <p:nvGrpSpPr>
            <p:cNvPr id="99" name="Group 98"/>
            <p:cNvGrpSpPr/>
            <p:nvPr/>
          </p:nvGrpSpPr>
          <p:grpSpPr>
            <a:xfrm>
              <a:off x="-3297" y="-5615"/>
              <a:ext cx="12192001" cy="6858000"/>
              <a:chOff x="-3297" y="-5615"/>
              <a:chExt cx="12192001" cy="6858000"/>
            </a:xfrm>
          </p:grpSpPr>
          <p:sp>
            <p:nvSpPr>
              <p:cNvPr id="98" name="Rectangle 97"/>
              <p:cNvSpPr/>
              <p:nvPr/>
            </p:nvSpPr>
            <p:spPr>
              <a:xfrm>
                <a:off x="-3297" y="-5615"/>
                <a:ext cx="12192001" cy="6858000"/>
              </a:xfrm>
              <a:prstGeom prst="rect">
                <a:avLst/>
              </a:prstGeom>
              <a:solidFill>
                <a:srgbClr val="F7F7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80" tIns="182880" rIns="182880" bIns="182880" rtlCol="0" anchor="ctr" anchorCtr="0"/>
              <a:lstStyle/>
              <a:p>
                <a:pPr>
                  <a:spcAft>
                    <a:spcPts val="600"/>
                  </a:spcAft>
                </a:pPr>
                <a:endParaRPr lang="en-US" dirty="0">
                  <a:solidFill>
                    <a:srgbClr val="F7F7F7"/>
                  </a:solidFill>
                </a:endParaRPr>
              </a:p>
            </p:txBody>
          </p:sp>
          <p:sp>
            <p:nvSpPr>
              <p:cNvPr id="87" name="TextBox 86"/>
              <p:cNvSpPr txBox="1"/>
              <p:nvPr/>
            </p:nvSpPr>
            <p:spPr>
              <a:xfrm>
                <a:off x="346591" y="194231"/>
                <a:ext cx="9573310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44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" panose="02040604050505020304" pitchFamily="18" charset="0"/>
                    <a:cs typeface="Arial" panose="020B0604020202020204" pitchFamily="34" charset="0"/>
                  </a:rPr>
                  <a:t>MES Whitepaper Challenge 2017</a:t>
                </a:r>
                <a:endParaRPr lang="en-US" sz="4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" panose="02040604050505020304" pitchFamily="18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90" name="Group 89"/>
              <p:cNvGrpSpPr/>
              <p:nvPr/>
            </p:nvGrpSpPr>
            <p:grpSpPr>
              <a:xfrm>
                <a:off x="9670970" y="93147"/>
                <a:ext cx="2428843" cy="1678130"/>
                <a:chOff x="-61284" y="143688"/>
                <a:chExt cx="2483796" cy="1702359"/>
              </a:xfrm>
            </p:grpSpPr>
            <p:pic>
              <p:nvPicPr>
                <p:cNvPr id="91" name="Picture 90"/>
                <p:cNvPicPr>
                  <a:picLocks noChangeAspect="1"/>
                </p:cNvPicPr>
                <p:nvPr/>
              </p:nvPicPr>
              <p:blipFill rotWithShape="1">
                <a:blip r:embed="rId2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-1" r="714" b="7696"/>
                <a:stretch/>
              </p:blipFill>
              <p:spPr>
                <a:xfrm>
                  <a:off x="179223" y="143688"/>
                  <a:ext cx="1918731" cy="1385669"/>
                </a:xfrm>
                <a:prstGeom prst="rect">
                  <a:avLst/>
                </a:prstGeom>
              </p:spPr>
            </p:pic>
            <p:sp>
              <p:nvSpPr>
                <p:cNvPr id="92" name="TextBox 91"/>
                <p:cNvSpPr txBox="1"/>
                <p:nvPr/>
              </p:nvSpPr>
              <p:spPr>
                <a:xfrm>
                  <a:off x="-61284" y="1415160"/>
                  <a:ext cx="2483796" cy="43088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i="1" dirty="0" smtClean="0">
                      <a:solidFill>
                        <a:srgbClr val="0070C0"/>
                      </a:solidFill>
                      <a:latin typeface="Century" panose="02040604050505020304" pitchFamily="18" charset="0"/>
                    </a:rPr>
                    <a:t>Time to wear your writer’s cap &amp; pen down your thoughts</a:t>
                  </a:r>
                  <a:endParaRPr lang="en-US" sz="1100" i="1" dirty="0">
                    <a:solidFill>
                      <a:srgbClr val="0070C0"/>
                    </a:solidFill>
                    <a:latin typeface="Century" panose="02040604050505020304" pitchFamily="18" charset="0"/>
                  </a:endParaRPr>
                </a:p>
              </p:txBody>
            </p:sp>
          </p:grpSp>
        </p:grpSp>
        <p:pic>
          <p:nvPicPr>
            <p:cNvPr id="2" name="Picture 1"/>
            <p:cNvPicPr>
              <a:picLocks noChangeAspect="1"/>
            </p:cNvPicPr>
            <p:nvPr/>
          </p:nvPicPr>
          <p:blipFill rotWithShape="1">
            <a:blip r:embed="rId3">
              <a:clrChange>
                <a:clrFrom>
                  <a:srgbClr val="EBEAE8"/>
                </a:clrFrom>
                <a:clrTo>
                  <a:srgbClr val="EBEAE8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6912"/>
            <a:stretch/>
          </p:blipFill>
          <p:spPr>
            <a:xfrm>
              <a:off x="1436190" y="4054879"/>
              <a:ext cx="9188793" cy="2397067"/>
            </a:xfrm>
            <a:prstGeom prst="rect">
              <a:avLst/>
            </a:prstGeom>
          </p:spPr>
        </p:pic>
        <p:sp>
          <p:nvSpPr>
            <p:cNvPr id="3" name="TextBox 2"/>
            <p:cNvSpPr txBox="1"/>
            <p:nvPr/>
          </p:nvSpPr>
          <p:spPr>
            <a:xfrm>
              <a:off x="1327768" y="1165537"/>
              <a:ext cx="796728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b="1" i="1" dirty="0" smtClean="0">
                  <a:solidFill>
                    <a:schemeClr val="accent1">
                      <a:lumMod val="75000"/>
                    </a:schemeClr>
                  </a:solidFill>
                  <a:latin typeface="Century Gothic" panose="020B0502020202020204" pitchFamily="34" charset="0"/>
                </a:rPr>
                <a:t>Need more clarification about Whitepaper.....?????</a:t>
              </a:r>
              <a:endParaRPr lang="en-US" b="1" i="1" dirty="0" smtClean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6" name="Cloud Callout 5"/>
            <p:cNvSpPr/>
            <p:nvPr/>
          </p:nvSpPr>
          <p:spPr>
            <a:xfrm>
              <a:off x="5122843" y="2016450"/>
              <a:ext cx="2038120" cy="1519963"/>
            </a:xfrm>
            <a:prstGeom prst="cloudCallout">
              <a:avLst>
                <a:gd name="adj1" fmla="val -6779"/>
                <a:gd name="adj2" fmla="val 80620"/>
              </a:avLst>
            </a:prstGeom>
            <a:solidFill>
              <a:schemeClr val="bg1">
                <a:lumMod val="6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prstTxWarp prst="textDeflateInflateDeflate">
                <a:avLst/>
              </a:prstTxWarp>
            </a:bodyPr>
            <a:lstStyle/>
            <a:p>
              <a:pPr algn="ctr"/>
              <a:r>
                <a:rPr lang="en-US" dirty="0" smtClean="0">
                  <a:solidFill>
                    <a:srgbClr val="F7F7F7"/>
                  </a:solidFill>
                </a:rPr>
                <a:t>What is Whitepaper ??????</a:t>
              </a:r>
              <a:endParaRPr lang="en-US" dirty="0">
                <a:solidFill>
                  <a:srgbClr val="F7F7F7"/>
                </a:solidFill>
              </a:endParaRPr>
            </a:p>
          </p:txBody>
        </p:sp>
        <p:sp>
          <p:nvSpPr>
            <p:cNvPr id="12" name="Cloud Callout 11"/>
            <p:cNvSpPr/>
            <p:nvPr/>
          </p:nvSpPr>
          <p:spPr>
            <a:xfrm rot="900129">
              <a:off x="9641690" y="2858889"/>
              <a:ext cx="2038120" cy="1519963"/>
            </a:xfrm>
            <a:prstGeom prst="cloudCallout">
              <a:avLst>
                <a:gd name="adj1" fmla="val -33806"/>
                <a:gd name="adj2" fmla="val 74822"/>
              </a:avLst>
            </a:prstGeom>
            <a:solidFill>
              <a:schemeClr val="accent5">
                <a:lumMod val="75000"/>
              </a:schemeClr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InflateTop">
                <a:avLst>
                  <a:gd name="adj" fmla="val 5770"/>
                </a:avLst>
              </a:prstTxWarp>
              <a:noAutofit/>
            </a:bodyPr>
            <a:lstStyle/>
            <a:p>
              <a:pPr algn="ctr"/>
              <a:r>
                <a:rPr lang="en-US" sz="1400" dirty="0" smtClean="0">
                  <a:solidFill>
                    <a:schemeClr val="accent3">
                      <a:lumMod val="20000"/>
                      <a:lumOff val="80000"/>
                    </a:schemeClr>
                  </a:solidFill>
                </a:rPr>
                <a:t>What is purpose of writing Whitepaper ??????</a:t>
              </a:r>
              <a:endParaRPr lang="en-US" sz="1400" dirty="0">
                <a:solidFill>
                  <a:schemeClr val="accent3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3" name="Cloud Callout 12"/>
            <p:cNvSpPr/>
            <p:nvPr/>
          </p:nvSpPr>
          <p:spPr>
            <a:xfrm rot="20347035">
              <a:off x="450294" y="3065927"/>
              <a:ext cx="2038120" cy="1519963"/>
            </a:xfrm>
            <a:prstGeom prst="cloudCallout">
              <a:avLst>
                <a:gd name="adj1" fmla="val 23838"/>
                <a:gd name="adj2" fmla="val 73282"/>
              </a:avLst>
            </a:prstGeom>
            <a:solidFill>
              <a:schemeClr val="accent5">
                <a:lumMod val="75000"/>
              </a:schemeClr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InflateTop">
                <a:avLst>
                  <a:gd name="adj" fmla="val 5770"/>
                </a:avLst>
              </a:prstTxWarp>
              <a:noAutofit/>
            </a:bodyPr>
            <a:lstStyle/>
            <a:p>
              <a:pPr algn="ctr"/>
              <a:r>
                <a:rPr lang="en-US" sz="1400" dirty="0" smtClean="0">
                  <a:solidFill>
                    <a:schemeClr val="accent3">
                      <a:lumMod val="20000"/>
                      <a:lumOff val="80000"/>
                    </a:schemeClr>
                  </a:solidFill>
                </a:rPr>
                <a:t>Whitepaper examples &amp; Best Practices  ??????</a:t>
              </a:r>
              <a:endParaRPr lang="en-US" sz="1400" dirty="0">
                <a:solidFill>
                  <a:schemeClr val="accent3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4" name="Cloud Callout 13"/>
            <p:cNvSpPr/>
            <p:nvPr/>
          </p:nvSpPr>
          <p:spPr>
            <a:xfrm rot="900129">
              <a:off x="8176501" y="2477203"/>
              <a:ext cx="1527548" cy="1262539"/>
            </a:xfrm>
            <a:prstGeom prst="cloudCallout">
              <a:avLst>
                <a:gd name="adj1" fmla="val -9461"/>
                <a:gd name="adj2" fmla="val 81832"/>
              </a:avLst>
            </a:prstGeom>
            <a:solidFill>
              <a:srgbClr val="FFC000"/>
            </a:solidFill>
            <a:ln>
              <a:solidFill>
                <a:srgbClr val="CF395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InflateTop">
                <a:avLst>
                  <a:gd name="adj" fmla="val 5770"/>
                </a:avLst>
              </a:prstTxWarp>
              <a:noAutofit/>
            </a:bodyPr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Guidelines and Rules</a:t>
              </a:r>
            </a:p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??????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5" name="Cloud Callout 14"/>
            <p:cNvSpPr/>
            <p:nvPr/>
          </p:nvSpPr>
          <p:spPr>
            <a:xfrm rot="20357567">
              <a:off x="2428925" y="2474432"/>
              <a:ext cx="1527548" cy="1262539"/>
            </a:xfrm>
            <a:prstGeom prst="cloudCallout">
              <a:avLst>
                <a:gd name="adj1" fmla="val 1259"/>
                <a:gd name="adj2" fmla="val 82070"/>
              </a:avLst>
            </a:prstGeom>
            <a:solidFill>
              <a:srgbClr val="FFC000"/>
            </a:solidFill>
            <a:ln>
              <a:solidFill>
                <a:srgbClr val="CF395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InflateTop">
                <a:avLst>
                  <a:gd name="adj" fmla="val 5770"/>
                </a:avLst>
              </a:prstTxWarp>
              <a:noAutofit/>
            </a:bodyPr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Frequently Asked Questions ??????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Cloud Callout 15"/>
            <p:cNvSpPr/>
            <p:nvPr/>
          </p:nvSpPr>
          <p:spPr>
            <a:xfrm rot="900129">
              <a:off x="7015438" y="2879289"/>
              <a:ext cx="1106236" cy="967430"/>
            </a:xfrm>
            <a:prstGeom prst="cloudCallout">
              <a:avLst>
                <a:gd name="adj1" fmla="val -9461"/>
                <a:gd name="adj2" fmla="val 81832"/>
              </a:avLst>
            </a:prstGeom>
            <a:solidFill>
              <a:schemeClr val="accent2">
                <a:lumMod val="75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InflateTop">
                <a:avLst>
                  <a:gd name="adj" fmla="val 5770"/>
                </a:avLst>
              </a:prstTxWarp>
              <a:noAutofit/>
            </a:bodyPr>
            <a:lstStyle/>
            <a:p>
              <a:pPr algn="ctr"/>
              <a:endParaRPr lang="en-US" sz="100" dirty="0">
                <a:solidFill>
                  <a:schemeClr val="accent3">
                    <a:lumMod val="20000"/>
                    <a:lumOff val="80000"/>
                  </a:schemeClr>
                </a:solidFill>
                <a:latin typeface="+mj-lt"/>
              </a:endParaRPr>
            </a:p>
          </p:txBody>
        </p:sp>
        <p:sp>
          <p:nvSpPr>
            <p:cNvPr id="18" name="Cloud Callout 17"/>
            <p:cNvSpPr/>
            <p:nvPr/>
          </p:nvSpPr>
          <p:spPr>
            <a:xfrm>
              <a:off x="3943893" y="2640055"/>
              <a:ext cx="1106236" cy="967430"/>
            </a:xfrm>
            <a:prstGeom prst="cloudCallout">
              <a:avLst>
                <a:gd name="adj1" fmla="val 33060"/>
                <a:gd name="adj2" fmla="val 94902"/>
              </a:avLst>
            </a:prstGeom>
            <a:solidFill>
              <a:schemeClr val="accent2">
                <a:lumMod val="75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InflateTop">
                <a:avLst>
                  <a:gd name="adj" fmla="val 5770"/>
                </a:avLst>
              </a:prstTxWarp>
              <a:noAutofit/>
            </a:bodyPr>
            <a:lstStyle/>
            <a:p>
              <a:pPr algn="ctr"/>
              <a:endParaRPr lang="en-US" sz="100" dirty="0">
                <a:solidFill>
                  <a:schemeClr val="accent3">
                    <a:lumMod val="20000"/>
                    <a:lumOff val="80000"/>
                  </a:schemeClr>
                </a:solidFill>
                <a:latin typeface="+mj-lt"/>
              </a:endParaRPr>
            </a:p>
          </p:txBody>
        </p:sp>
        <p:sp>
          <p:nvSpPr>
            <p:cNvPr id="4" name="TextBox 3"/>
            <p:cNvSpPr txBox="1"/>
            <p:nvPr/>
          </p:nvSpPr>
          <p:spPr>
            <a:xfrm rot="20352357">
              <a:off x="4203957" y="2557065"/>
              <a:ext cx="792593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0" dirty="0" smtClean="0">
                  <a:solidFill>
                    <a:schemeClr val="bg1"/>
                  </a:solidFill>
                  <a:latin typeface="Algerian" panose="04020705040A02060702" pitchFamily="82" charset="0"/>
                </a:rPr>
                <a:t>?</a:t>
              </a:r>
              <a:endParaRPr lang="en-US" sz="6000" dirty="0">
                <a:solidFill>
                  <a:schemeClr val="bg1"/>
                </a:solidFill>
                <a:latin typeface="Algerian" panose="04020705040A02060702" pitchFamily="82" charset="0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 rot="1055033">
              <a:off x="7300541" y="2885102"/>
              <a:ext cx="792593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0" dirty="0" smtClean="0">
                  <a:solidFill>
                    <a:schemeClr val="bg1"/>
                  </a:solidFill>
                  <a:latin typeface="Algerian" panose="04020705040A02060702" pitchFamily="82" charset="0"/>
                </a:rPr>
                <a:t>?</a:t>
              </a:r>
              <a:endParaRPr lang="en-US" sz="6000" dirty="0">
                <a:solidFill>
                  <a:schemeClr val="bg1"/>
                </a:solidFill>
                <a:latin typeface="Algerian" panose="04020705040A02060702" pitchFamily="82" charset="0"/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158660" y="5896238"/>
              <a:ext cx="12030044" cy="984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accent2">
                      <a:lumMod val="75000"/>
                    </a:schemeClr>
                  </a:solidFill>
                </a:rPr>
                <a:t>Here we are with an interactive workshop to clarify all your doubts on ....</a:t>
              </a:r>
              <a:r>
                <a:rPr lang="en-US" sz="4000" dirty="0">
                  <a:solidFill>
                    <a:schemeClr val="accent2">
                      <a:lumMod val="75000"/>
                    </a:schemeClr>
                  </a:solidFill>
                </a:rPr>
                <a:t> </a:t>
              </a:r>
              <a:r>
                <a:rPr lang="en-US" sz="2800" b="1" i="1" dirty="0">
                  <a:solidFill>
                    <a:schemeClr val="accent2">
                      <a:lumMod val="75000"/>
                    </a:schemeClr>
                  </a:solidFill>
                </a:rPr>
                <a:t>13</a:t>
              </a:r>
              <a:r>
                <a:rPr lang="en-US" sz="2800" b="1" i="1" baseline="30000" dirty="0">
                  <a:solidFill>
                    <a:schemeClr val="accent2">
                      <a:lumMod val="75000"/>
                    </a:schemeClr>
                  </a:solidFill>
                </a:rPr>
                <a:t>th</a:t>
              </a:r>
              <a:r>
                <a:rPr lang="en-US" sz="2800" b="1" i="1" dirty="0">
                  <a:solidFill>
                    <a:schemeClr val="accent2">
                      <a:lumMod val="75000"/>
                    </a:schemeClr>
                  </a:solidFill>
                </a:rPr>
                <a:t> Sep’17 @ 4:30 PM – 5:30 PM</a:t>
              </a:r>
              <a:r>
                <a:rPr lang="en-US" sz="1200" dirty="0">
                  <a:solidFill>
                    <a:schemeClr val="accent2">
                      <a:lumMod val="75000"/>
                    </a:schemeClr>
                  </a:solidFill>
                </a:rPr>
                <a:t> </a:t>
              </a:r>
              <a:endParaRPr lang="en-US" dirty="0">
                <a:solidFill>
                  <a:schemeClr val="accent2">
                    <a:lumMod val="75000"/>
                  </a:schemeClr>
                </a:solidFill>
              </a:endParaRPr>
            </a:p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133729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/>
          <p:cNvGrpSpPr/>
          <p:nvPr/>
        </p:nvGrpSpPr>
        <p:grpSpPr>
          <a:xfrm>
            <a:off x="1090669" y="352540"/>
            <a:ext cx="10535413" cy="4693187"/>
            <a:chOff x="1090669" y="352540"/>
            <a:chExt cx="10535413" cy="4693187"/>
          </a:xfrm>
        </p:grpSpPr>
        <p:sp>
          <p:nvSpPr>
            <p:cNvPr id="17" name="Rectangle 16"/>
            <p:cNvSpPr/>
            <p:nvPr/>
          </p:nvSpPr>
          <p:spPr>
            <a:xfrm>
              <a:off x="1090669" y="352540"/>
              <a:ext cx="10455008" cy="469318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Explosion 1 8"/>
            <p:cNvSpPr/>
            <p:nvPr/>
          </p:nvSpPr>
          <p:spPr>
            <a:xfrm>
              <a:off x="4373696" y="1938970"/>
              <a:ext cx="2787267" cy="2599981"/>
            </a:xfrm>
            <a:prstGeom prst="irregularSeal1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200" dirty="0" smtClean="0">
                  <a:solidFill>
                    <a:schemeClr val="bg2"/>
                  </a:solidFill>
                </a:rPr>
                <a:t>15 Days</a:t>
              </a:r>
              <a:endParaRPr lang="en-US" sz="1400" dirty="0">
                <a:solidFill>
                  <a:schemeClr val="bg2"/>
                </a:solidFill>
              </a:endParaRPr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740" t="7104" r="18334" b="57114"/>
            <a:stretch/>
          </p:blipFill>
          <p:spPr>
            <a:xfrm>
              <a:off x="3922004" y="3712686"/>
              <a:ext cx="3624550" cy="1333041"/>
            </a:xfrm>
            <a:prstGeom prst="rect">
              <a:avLst/>
            </a:prstGeom>
          </p:spPr>
        </p:pic>
        <p:sp>
          <p:nvSpPr>
            <p:cNvPr id="24" name="TextBox 23"/>
            <p:cNvSpPr txBox="1"/>
            <p:nvPr/>
          </p:nvSpPr>
          <p:spPr>
            <a:xfrm>
              <a:off x="1090669" y="678970"/>
              <a:ext cx="8829231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" panose="02040604050505020304" pitchFamily="18" charset="0"/>
                  <a:cs typeface="Arial" panose="020B0604020202020204" pitchFamily="34" charset="0"/>
                </a:rPr>
                <a:t>MES Whitepaper Challenge 2017</a:t>
              </a:r>
              <a:endParaRPr lang="en-US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" panose="02040604050505020304" pitchFamily="18" charset="0"/>
                <a:cs typeface="Arial" panose="020B0604020202020204" pitchFamily="34" charset="0"/>
              </a:endParaRPr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 rotWithShape="1"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r="714" b="7696"/>
            <a:stretch/>
          </p:blipFill>
          <p:spPr>
            <a:xfrm>
              <a:off x="9578257" y="577886"/>
              <a:ext cx="1730447" cy="1365947"/>
            </a:xfrm>
            <a:prstGeom prst="rect">
              <a:avLst/>
            </a:prstGeom>
          </p:spPr>
        </p:pic>
        <p:sp>
          <p:nvSpPr>
            <p:cNvPr id="26" name="TextBox 25"/>
            <p:cNvSpPr txBox="1"/>
            <p:nvPr/>
          </p:nvSpPr>
          <p:spPr>
            <a:xfrm>
              <a:off x="9386019" y="1831262"/>
              <a:ext cx="224006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i="1" dirty="0" smtClean="0">
                  <a:solidFill>
                    <a:srgbClr val="0070C0"/>
                  </a:solidFill>
                  <a:latin typeface="Century" panose="02040604050505020304" pitchFamily="18" charset="0"/>
                </a:rPr>
                <a:t>Time to wear your writer’s cap &amp; pen down your thoughts</a:t>
              </a:r>
              <a:endParaRPr lang="en-US" sz="1100" i="1" dirty="0">
                <a:solidFill>
                  <a:srgbClr val="0070C0"/>
                </a:solidFill>
                <a:latin typeface="Century" panose="02040604050505020304" pitchFamily="18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2007750" y="1569190"/>
              <a:ext cx="7282150" cy="64633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b="1" i="1" dirty="0" smtClean="0">
                  <a:solidFill>
                    <a:srgbClr val="FF0000"/>
                  </a:solidFill>
                </a:rPr>
                <a:t>A gentle reminder!!!!!!!!!!!  ONLY 15 days to submit the final script...... </a:t>
              </a:r>
            </a:p>
            <a:p>
              <a:pPr algn="ctr"/>
              <a:r>
                <a:rPr lang="en-US" b="1" i="1" dirty="0" smtClean="0">
                  <a:solidFill>
                    <a:srgbClr val="FF0000"/>
                  </a:solidFill>
                </a:rPr>
                <a:t>HURRY up.....</a:t>
              </a:r>
              <a:endParaRPr lang="en-US" b="1" i="1" dirty="0">
                <a:solidFill>
                  <a:srgbClr val="FF0000"/>
                </a:solidFill>
              </a:endParaRPr>
            </a:p>
          </p:txBody>
        </p:sp>
        <p:grpSp>
          <p:nvGrpSpPr>
            <p:cNvPr id="22" name="Group 21"/>
            <p:cNvGrpSpPr/>
            <p:nvPr/>
          </p:nvGrpSpPr>
          <p:grpSpPr>
            <a:xfrm>
              <a:off x="1793067" y="2353400"/>
              <a:ext cx="1919617" cy="1557586"/>
              <a:chOff x="1793067" y="2540689"/>
              <a:chExt cx="1919617" cy="1557586"/>
            </a:xfrm>
          </p:grpSpPr>
          <p:pic>
            <p:nvPicPr>
              <p:cNvPr id="19" name="Picture 18"/>
              <p:cNvPicPr>
                <a:picLocks noChangeAspect="1"/>
              </p:cNvPicPr>
              <p:nvPr/>
            </p:nvPicPr>
            <p:blipFill rotWithShape="1">
              <a:blip r:embed="rId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2393"/>
              <a:stretch/>
            </p:blipFill>
            <p:spPr>
              <a:xfrm>
                <a:off x="1793067" y="2540689"/>
                <a:ext cx="1919617" cy="1557586"/>
              </a:xfrm>
              <a:prstGeom prst="rect">
                <a:avLst/>
              </a:prstGeom>
            </p:spPr>
          </p:pic>
          <p:sp>
            <p:nvSpPr>
              <p:cNvPr id="21" name="TextBox 20"/>
              <p:cNvSpPr txBox="1"/>
              <p:nvPr/>
            </p:nvSpPr>
            <p:spPr>
              <a:xfrm>
                <a:off x="2116578" y="3307458"/>
                <a:ext cx="1231209" cy="64633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b="1" dirty="0" smtClean="0">
                    <a:solidFill>
                      <a:srgbClr val="CF395D"/>
                    </a:solidFill>
                  </a:rPr>
                  <a:t>8</a:t>
                </a:r>
                <a:r>
                  <a:rPr lang="en-US" b="1" baseline="30000" dirty="0" smtClean="0">
                    <a:solidFill>
                      <a:srgbClr val="CF395D"/>
                    </a:solidFill>
                  </a:rPr>
                  <a:t>th</a:t>
                </a:r>
                <a:r>
                  <a:rPr lang="en-US" b="1" dirty="0" smtClean="0">
                    <a:solidFill>
                      <a:srgbClr val="CF395D"/>
                    </a:solidFill>
                  </a:rPr>
                  <a:t> December</a:t>
                </a:r>
                <a:endParaRPr lang="en-US" b="1" dirty="0">
                  <a:solidFill>
                    <a:srgbClr val="CF395D"/>
                  </a:solidFill>
                </a:endParaRPr>
              </a:p>
            </p:txBody>
          </p:sp>
        </p:grpSp>
        <p:sp>
          <p:nvSpPr>
            <p:cNvPr id="23" name="TextBox 22"/>
            <p:cNvSpPr txBox="1"/>
            <p:nvPr/>
          </p:nvSpPr>
          <p:spPr>
            <a:xfrm>
              <a:off x="1978866" y="3914918"/>
              <a:ext cx="1717292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1200" dirty="0" smtClean="0">
                  <a:solidFill>
                    <a:schemeClr val="accent1">
                      <a:lumMod val="75000"/>
                    </a:schemeClr>
                  </a:solidFill>
                </a:rPr>
                <a:t>Last day of submission..</a:t>
              </a:r>
              <a:endParaRPr lang="en-US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pic>
          <p:nvPicPr>
            <p:cNvPr id="35" name="Picture 34"/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EFEFF"/>
                </a:clrFrom>
                <a:clrTo>
                  <a:srgbClr val="FEFE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98246" y="2270263"/>
              <a:ext cx="2394709" cy="2459717"/>
            </a:xfrm>
            <a:prstGeom prst="rect">
              <a:avLst/>
            </a:prstGeom>
          </p:spPr>
        </p:pic>
        <p:sp>
          <p:nvSpPr>
            <p:cNvPr id="36" name="TextBox 35"/>
            <p:cNvSpPr txBox="1"/>
            <p:nvPr/>
          </p:nvSpPr>
          <p:spPr>
            <a:xfrm rot="21371249">
              <a:off x="8209576" y="2937158"/>
              <a:ext cx="1950531" cy="14773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b="1" dirty="0">
                  <a:latin typeface="Century" panose="02040604050505020304" pitchFamily="18" charset="0"/>
                </a:rPr>
                <a:t>Note:</a:t>
              </a:r>
            </a:p>
            <a:p>
              <a:r>
                <a:rPr lang="en-US" sz="900" dirty="0" smtClean="0">
                  <a:latin typeface="Century" panose="02040604050505020304" pitchFamily="18" charset="0"/>
                </a:rPr>
                <a:t>We will be arranging 15 mins discussion with each team to discuss the progress and in case anyone is facing any challenge.</a:t>
              </a:r>
            </a:p>
            <a:p>
              <a:r>
                <a:rPr lang="en-US" sz="900" dirty="0" smtClean="0">
                  <a:latin typeface="Century" panose="02040604050505020304" pitchFamily="18" charset="0"/>
                </a:rPr>
                <a:t>Feel free to reach out to us in case of queries....</a:t>
              </a:r>
            </a:p>
            <a:p>
              <a:endParaRPr lang="en-US" sz="900" dirty="0">
                <a:latin typeface="Century" panose="02040604050505020304" pitchFamily="18" charset="0"/>
              </a:endParaRPr>
            </a:p>
            <a:p>
              <a:r>
                <a:rPr lang="en-US" sz="900" dirty="0" smtClean="0">
                  <a:latin typeface="Century" panose="02040604050505020304" pitchFamily="18" charset="0"/>
                </a:rPr>
                <a:t>-- MES Customer Work stream!</a:t>
              </a:r>
              <a:endParaRPr lang="en-US" sz="900" dirty="0">
                <a:latin typeface="Century" panose="02040604050505020304" pitchFamily="18" charset="0"/>
              </a:endParaRPr>
            </a:p>
            <a:p>
              <a:endParaRPr lang="en-US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842829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78</TotalTime>
  <Words>1082</Words>
  <Application>Microsoft Office PowerPoint</Application>
  <PresentationFormat>Widescreen</PresentationFormat>
  <Paragraphs>213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8" baseType="lpstr">
      <vt:lpstr>Gungsuh</vt:lpstr>
      <vt:lpstr>Algerian</vt:lpstr>
      <vt:lpstr>Andalus</vt:lpstr>
      <vt:lpstr>Arial</vt:lpstr>
      <vt:lpstr>Calibri</vt:lpstr>
      <vt:lpstr>Calibri Light</vt:lpstr>
      <vt:lpstr>Century</vt:lpstr>
      <vt:lpstr>Century Gothic</vt:lpstr>
      <vt:lpstr>Comic Sans MS</vt:lpstr>
      <vt:lpstr>Copperplate Gothic Light</vt:lpstr>
      <vt:lpstr>Monotype Corsiva</vt:lpstr>
      <vt:lpstr>Utsaah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Novarti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ende, Tanvi</dc:creator>
  <cp:lastModifiedBy>Saikat Choudhury</cp:lastModifiedBy>
  <cp:revision>141</cp:revision>
  <dcterms:created xsi:type="dcterms:W3CDTF">2017-06-30T06:38:28Z</dcterms:created>
  <dcterms:modified xsi:type="dcterms:W3CDTF">2018-01-11T07:20:31Z</dcterms:modified>
</cp:coreProperties>
</file>